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4.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3.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9.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0.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5.xml" ContentType="application/vnd.openxmlformats-officedocument.presentationml.slide+xml"/>
  <Override PartName="/ppt/slides/slide57.xml" ContentType="application/vnd.openxmlformats-officedocument.presentationml.slide+xml"/>
  <Override PartName="/ppt/slides/slide59.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1.xml" ContentType="application/vnd.openxmlformats-officedocument.presentationml.tags+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3.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5.xml" ContentType="application/vnd.openxmlformats-officedocument.presentationml.tags+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notesSlides/notesSlide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31.xml" ContentType="application/vnd.openxmlformats-officedocument.presentationml.tags+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32.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36.xml" ContentType="application/vnd.openxmlformats-officedocument.presentationml.tags+xml"/>
  <Override PartName="/ppt/notesSlides/notesSlide2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37.xml" ContentType="application/vnd.openxmlformats-officedocument.presentationml.tags+xml"/>
  <Override PartName="/ppt/tags/tag38.xml" ContentType="application/vnd.openxmlformats-officedocument.presentationml.tags+xml"/>
  <Override PartName="/ppt/notesSlides/notesSlide2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39.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3.xml" ContentType="application/vnd.openxmlformats-officedocument.presentationml.notesSlide+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notesSlides/notesSlide3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51.xml" ContentType="application/vnd.openxmlformats-officedocument.presentationml.tags+xml"/>
  <Override PartName="/ppt/notesSlides/notesSlide37.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52.xml" ContentType="application/vnd.openxmlformats-officedocument.presentationml.tags+xml"/>
  <Override PartName="/ppt/notesSlides/notesSlide38.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notesSlides/notesSlide3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0.xml" ContentType="application/vnd.openxmlformats-officedocument.presentationml.notesSlide+xml"/>
  <Override PartName="/ppt/tags/tag57.xml" ContentType="application/vnd.openxmlformats-officedocument.presentationml.tags+xml"/>
  <Override PartName="/ppt/notesSlides/notesSlide41.xml" ContentType="application/vnd.openxmlformats-officedocument.presentationml.notesSlide+xml"/>
  <Override PartName="/ppt/tags/tag58.xml" ContentType="application/vnd.openxmlformats-officedocument.presentationml.tags+xml"/>
  <Override PartName="/ppt/notesSlides/notesSlide42.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60.xml" ContentType="application/vnd.openxmlformats-officedocument.presentationml.tags+xml"/>
  <Override PartName="/ppt/notesSlides/notesSlide44.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61.xml" ContentType="application/vnd.openxmlformats-officedocument.presentationml.tags+xml"/>
  <Override PartName="/ppt/tags/tag62.xml" ContentType="application/vnd.openxmlformats-officedocument.presentationml.tags+xml"/>
  <Override PartName="/ppt/notesSlides/notesSlide4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6.xml" ContentType="application/vnd.openxmlformats-officedocument.presentationml.notesSlide+xml"/>
  <Override PartName="/ppt/tags/tag65.xml" ContentType="application/vnd.openxmlformats-officedocument.presentationml.tags+xml"/>
  <Override PartName="/ppt/notesSlides/notesSlide47.xml" ContentType="application/vnd.openxmlformats-officedocument.presentationml.notesSlide+xml"/>
  <Override PartName="/ppt/tags/tag66.xml" ContentType="application/vnd.openxmlformats-officedocument.presentationml.tags+xml"/>
  <Override PartName="/ppt/notesSlides/notesSlide48.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68.xml" ContentType="application/vnd.openxmlformats-officedocument.presentationml.tags+xml"/>
  <Override PartName="/ppt/notesSlides/notesSlide50.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71.xml" ContentType="application/vnd.openxmlformats-officedocument.presentationml.tags+xml"/>
  <Override PartName="/ppt/tags/tag72.xml" ContentType="application/vnd.openxmlformats-officedocument.presentationml.tags+xml"/>
  <Override PartName="/ppt/notesSlides/notesSlide52.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73.xml" ContentType="application/vnd.openxmlformats-officedocument.presentationml.tags+xml"/>
  <Override PartName="/ppt/tags/tag74.xml" ContentType="application/vnd.openxmlformats-officedocument.presentationml.tags+xml"/>
  <Override PartName="/ppt/notesSlides/notesSlide5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55.xml" ContentType="application/vnd.openxmlformats-officedocument.presentationml.notesSlide+xml"/>
  <Override PartName="/ppt/tags/tag81.xml" ContentType="application/vnd.openxmlformats-officedocument.presentationml.tags+xml"/>
  <Override PartName="/ppt/notesSlides/notesSlide57.xml" ContentType="application/vnd.openxmlformats-officedocument.presentationml.notesSlide+xml"/>
  <Override PartName="/ppt/tags/tag83.xml" ContentType="application/vnd.openxmlformats-officedocument.presentationml.tags+xml"/>
  <Override PartName="/ppt/notesSlides/notesSlide59.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85.xml" ContentType="application/vnd.openxmlformats-officedocument.presentationml.tags+xml"/>
  <Override PartName="/ppt/tags/tag86.xml" ContentType="application/vnd.openxmlformats-officedocument.presentationml.tags+xml"/>
  <Override PartName="/ppt/notesSlides/notesSlide6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62.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63.xml" ContentType="application/vnd.openxmlformats-officedocument.presentationml.notesSlide+xml"/>
  <Override PartName="/ppt/tags/tag91.xml" ContentType="application/vnd.openxmlformats-officedocument.presentationml.tags+xml"/>
  <Override PartName="/ppt/notesSlides/notesSlide6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2"/>
    <p:sldMasterId id="2147483693" r:id="rId23"/>
    <p:sldMasterId id="2147483710" r:id="rId24"/>
  </p:sldMasterIdLst>
  <p:notesMasterIdLst>
    <p:notesMasterId r:id="rId89"/>
  </p:notesMasterIdLst>
  <p:sldIdLst>
    <p:sldId id="256" r:id="rId25"/>
    <p:sldId id="257" r:id="rId26"/>
    <p:sldId id="258" r:id="rId27"/>
    <p:sldId id="265" r:id="rId28"/>
    <p:sldId id="1796" r:id="rId29"/>
    <p:sldId id="1793" r:id="rId30"/>
    <p:sldId id="268" r:id="rId31"/>
    <p:sldId id="274" r:id="rId32"/>
    <p:sldId id="275" r:id="rId33"/>
    <p:sldId id="259" r:id="rId34"/>
    <p:sldId id="1797" r:id="rId35"/>
    <p:sldId id="1782" r:id="rId36"/>
    <p:sldId id="1799" r:id="rId38"/>
    <p:sldId id="1818" r:id="rId40"/>
    <p:sldId id="1735" r:id="rId41"/>
    <p:sldId id="264" r:id="rId42"/>
    <p:sldId id="1788" r:id="rId43"/>
    <p:sldId id="1807" r:id="rId44"/>
    <p:sldId id="1808" r:id="rId45"/>
    <p:sldId id="1819" r:id="rId47"/>
    <p:sldId id="1811" r:id="rId49"/>
    <p:sldId id="1812" r:id="rId50"/>
    <p:sldId id="1739" r:id="rId51"/>
    <p:sldId id="293" r:id="rId53"/>
    <p:sldId id="1776" r:id="rId55"/>
    <p:sldId id="298" r:id="rId56"/>
    <p:sldId id="299" r:id="rId57"/>
    <p:sldId id="300" r:id="rId58"/>
    <p:sldId id="1813" r:id="rId59"/>
    <p:sldId id="305" r:id="rId61"/>
    <p:sldId id="1816" r:id="rId62"/>
    <p:sldId id="306" r:id="rId63"/>
    <p:sldId id="307" r:id="rId64"/>
    <p:sldId id="308" r:id="rId65"/>
    <p:sldId id="1743" r:id="rId66"/>
    <p:sldId id="1823" r:id="rId68"/>
    <p:sldId id="1820" r:id="rId69"/>
    <p:sldId id="311" r:id="rId70"/>
    <p:sldId id="312" r:id="rId71"/>
    <p:sldId id="1748" r:id="rId72"/>
    <p:sldId id="1826" r:id="rId74"/>
    <p:sldId id="1828" r:id="rId76"/>
    <p:sldId id="316" r:id="rId77"/>
    <p:sldId id="1747" r:id="rId79"/>
    <p:sldId id="1749" r:id="rId81"/>
    <p:sldId id="1750" r:id="rId83"/>
    <p:sldId id="318" r:id="rId85"/>
    <p:sldId id="319" r:id="rId86"/>
    <p:sldId id="320" r:id="rId87"/>
    <p:sldId id="321" r:id="rId88"/>
  </p:sldIdLst>
  <p:sldSz cx="12192000" cy="6858000"/>
  <p:notesSz cx="6858000" cy="4962525"/>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D29A110-DBDA-4B93-9C18-201D859503B3}">
          <p14:sldIdLst>
            <p14:sldId id="256"/>
            <p14:sldId id="257"/>
            <p14:sldId id="258"/>
          </p14:sldIdLst>
        </p14:section>
        <p14:section name="Streams" id="{9BE9C8F4-DFBB-48F2-8ECE-EF1E34DFF3C1}">
          <p14:sldIdLst>
            <p14:sldId id="265"/>
            <p14:sldId id="1796"/>
            <p14:sldId id="1793"/>
            <p14:sldId id="268"/>
            <p14:sldId id="274"/>
            <p14:sldId id="275"/>
          </p14:sldIdLst>
        </p14:section>
        <p14:section name="Introduction to Error Handling" id="{7DE34CEA-CA45-43F2-BD43-FB5AEF8887E3}">
          <p14:sldIdLst>
            <p14:sldId id="259"/>
            <p14:sldId id="1797"/>
            <p14:sldId id="1782"/>
            <p14:sldId id="1821"/>
            <p14:sldId id="1799"/>
            <p14:sldId id="1805"/>
            <p14:sldId id="1818"/>
            <p14:sldId id="1735"/>
            <p14:sldId id="264"/>
          </p14:sldIdLst>
        </p14:section>
        <p14:section name="Non-Terminating Errors" id="{C8AB1A3D-F849-44A7-A695-996ADEE39805}">
          <p14:sldIdLst>
            <p14:sldId id="1788"/>
            <p14:sldId id="1807"/>
            <p14:sldId id="1808"/>
            <p14:sldId id="1810"/>
            <p14:sldId id="1819"/>
            <p14:sldId id="289"/>
            <p14:sldId id="1811"/>
            <p14:sldId id="1812"/>
            <p14:sldId id="1739"/>
            <p14:sldId id="1822"/>
            <p14:sldId id="293"/>
            <p14:sldId id="1738"/>
            <p14:sldId id="1776"/>
            <p14:sldId id="298"/>
            <p14:sldId id="299"/>
          </p14:sldIdLst>
        </p14:section>
        <p14:section name="Introduction to Terminating Errors" id="{5A9EEC9A-9D1E-431A-B9A4-BF04A8DAD854}">
          <p14:sldIdLst>
            <p14:sldId id="300"/>
            <p14:sldId id="1813"/>
            <p14:sldId id="1815"/>
            <p14:sldId id="305"/>
            <p14:sldId id="1816"/>
            <p14:sldId id="306"/>
            <p14:sldId id="307"/>
          </p14:sldIdLst>
        </p14:section>
        <p14:section name="Handling Terminating Errors using Trap" id="{D2AB517D-A2F1-4202-B349-A726341D65F6}">
          <p14:sldIdLst>
            <p14:sldId id="308"/>
            <p14:sldId id="1743"/>
            <p14:sldId id="309"/>
            <p14:sldId id="1823"/>
            <p14:sldId id="1820"/>
            <p14:sldId id="311"/>
          </p14:sldIdLst>
        </p14:section>
        <p14:section name="Handling Terminating Errors Try {} Catch {} Finally {}" id="{96211BAB-242F-4D44-AAEF-CDE0BE024779}">
          <p14:sldIdLst>
            <p14:sldId id="312"/>
            <p14:sldId id="1748"/>
            <p14:sldId id="1824"/>
            <p14:sldId id="1826"/>
            <p14:sldId id="1827"/>
            <p14:sldId id="1828"/>
            <p14:sldId id="316"/>
            <p14:sldId id="313"/>
            <p14:sldId id="1747"/>
            <p14:sldId id="327"/>
            <p14:sldId id="1749"/>
            <p14:sldId id="317"/>
            <p14:sldId id="1750"/>
            <p14:sldId id="302"/>
            <p14:sldId id="318"/>
            <p14:sldId id="319"/>
          </p14:sldIdLst>
        </p14:section>
        <p14:section name="LAB: Error Handling" id="{7DD323A3-00F0-47D5-B5ED-27A87BA57036}">
          <p14:sldIdLst>
            <p14:sldId id="320"/>
            <p14:sldId id="32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54B51B-B11F-3A38-BE84-966141B38A11}" name="Daniele De Angelis" initials="DA" userId="S::dadea@microsoft.com::923242f7-b5ee-4cfe-bd76-24f60a508424" providerId="AD"/>
  <p188:author id="{A5C7E021-0F22-93C2-5EF5-B032C38EB5AC}" name="Emre Guclu" initials="EG" userId="S::emreg@microsoft.com::f8cb4735-3214-4381-b0e0-337e81b6bd7c" providerId="AD"/>
  <p188:author id="{93308B89-5FE1-4D17-E84D-58634B25B407}" name="Michael Wiley" initials="MW" userId="S::micwil@microsoft.com::c47109c9-80e8-471c-a0d8-79372bbb0a30" providerId="AD"/>
  <p188:author id="{EFA001BD-6AC6-2322-D8A5-A7C0E75B8FAB}" name="Kory Thacher (APPS / POWERSHELL)" initials="KT(/P" userId="Kory Thacher (APPS / POWERSHELL)" providerId="None"/>
  <p188:author id="{0D3428EF-EBBF-0D99-A3B9-5DDB4A16D187}" name="Tony Radkiewicz" initials="TR" userId="S::anradkie@microsoft.com::9832534a-7e4f-4058-9c41-7f4a5b855c9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0064"/>
    <a:srgbClr val="003964"/>
    <a:srgbClr val="004F8A"/>
    <a:srgbClr val="002060"/>
    <a:srgbClr val="50E6FF"/>
    <a:srgbClr val="FF8C00"/>
    <a:srgbClr val="FF9494"/>
    <a:srgbClr val="243A5E"/>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382" autoAdjust="0"/>
  </p:normalViewPr>
  <p:slideViewPr>
    <p:cSldViewPr snapToGrid="0">
      <p:cViewPr varScale="1">
        <p:scale>
          <a:sx n="83" d="100"/>
          <a:sy n="83" d="100"/>
        </p:scale>
        <p:origin x="30" y="57"/>
      </p:cViewPr>
      <p:guideLst/>
    </p:cSldViewPr>
  </p:slideViewPr>
  <p:notesTextViewPr>
    <p:cViewPr>
      <p:scale>
        <a:sx n="1" d="1"/>
        <a:sy n="1" d="1"/>
      </p:scale>
      <p:origin x="0" y="0"/>
    </p:cViewPr>
  </p:notesText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2.xml" Id="rId26" /><Relationship Type="http://schemas.openxmlformats.org/officeDocument/2006/relationships/customXml" Target="../customXml/item21.xml" Id="rId21" /><Relationship Type="http://schemas.openxmlformats.org/officeDocument/2006/relationships/slide" Target="slides/slide18.xml" Id="rId42" /><Relationship Type="http://schemas.openxmlformats.org/officeDocument/2006/relationships/slide" Target="slides/slide23.xml" Id="rId47" /><Relationship Type="http://schemas.openxmlformats.org/officeDocument/2006/relationships/slide" Target="slides/slide39.xml" Id="rId63" /><Relationship Type="http://schemas.openxmlformats.org/officeDocument/2006/relationships/slide" Target="slides/slide44.xml" Id="rId68" /><Relationship Type="http://schemas.openxmlformats.org/officeDocument/2006/relationships/notesMaster" Target="notesMasters/notesMaster1.xml" Id="rId89" /><Relationship Type="http://schemas.openxmlformats.org/officeDocument/2006/relationships/customXml" Target="../customXml/item16.xml" Id="rId16" /><Relationship Type="http://schemas.openxmlformats.org/officeDocument/2006/relationships/customXml" Target="../customXml/item11.xml" Id="rId11" /><Relationship Type="http://schemas.openxmlformats.org/officeDocument/2006/relationships/slide" Target="slides/slide8.xml" Id="rId32" /><Relationship Type="http://schemas.openxmlformats.org/officeDocument/2006/relationships/slide" Target="slides/slide29.xml" Id="rId53" /><Relationship Type="http://schemas.openxmlformats.org/officeDocument/2006/relationships/slide" Target="slides/slide34.xml" Id="rId58" /><Relationship Type="http://schemas.openxmlformats.org/officeDocument/2006/relationships/slide" Target="slides/slide50.xml" Id="rId74" /><Relationship Type="http://schemas.openxmlformats.org/officeDocument/2006/relationships/slide" Target="slides/slide55.xml" Id="rId79" /><Relationship Type="http://schemas.openxmlformats.org/officeDocument/2006/relationships/customXml" Target="../customXml/item5.xml" Id="rId5" /><Relationship Type="http://schemas.openxmlformats.org/officeDocument/2006/relationships/tags" Target="tags/tag1.xml" Id="rId90" /><Relationship Type="http://schemas.microsoft.com/office/2016/11/relationships/changesInfo" Target="changesInfos/changesInfo1.xml" Id="rId95" /><Relationship Type="http://schemas.openxmlformats.org/officeDocument/2006/relationships/slideMaster" Target="slideMasters/slideMaster1.xml" Id="rId22" /><Relationship Type="http://schemas.openxmlformats.org/officeDocument/2006/relationships/slide" Target="slides/slide3.xml" Id="rId27" /><Relationship Type="http://schemas.openxmlformats.org/officeDocument/2006/relationships/slide" Target="slides/slide19.xml" Id="rId43" /><Relationship Type="http://schemas.openxmlformats.org/officeDocument/2006/relationships/slide" Target="slides/slide40.xml" Id="rId64" /><Relationship Type="http://schemas.openxmlformats.org/officeDocument/2006/relationships/slide" Target="slides/slide45.xml" Id="rId69" /><Relationship Type="http://schemas.openxmlformats.org/officeDocument/2006/relationships/customXml" Target="../customXml/item8.xml" Id="rId8" /><Relationship Type="http://schemas.openxmlformats.org/officeDocument/2006/relationships/slide" Target="slides/slide27.xml" Id="rId51" /><Relationship Type="http://schemas.openxmlformats.org/officeDocument/2006/relationships/slide" Target="slides/slide48.xml" Id="rId72" /><Relationship Type="http://schemas.openxmlformats.org/officeDocument/2006/relationships/slide" Target="slides/slide61.xml" Id="rId85" /><Relationship Type="http://schemas.openxmlformats.org/officeDocument/2006/relationships/theme" Target="theme/theme1.xml" Id="rId93" /><Relationship Type="http://schemas.openxmlformats.org/officeDocument/2006/relationships/customXml" Target="../customXml/item3.xml" Id="rId3" /><Relationship Type="http://schemas.openxmlformats.org/officeDocument/2006/relationships/customXml" Target="../customXml/item12.xml" Id="rId12" /><Relationship Type="http://schemas.openxmlformats.org/officeDocument/2006/relationships/customXml" Target="../customXml/item17.xml" Id="rId17" /><Relationship Type="http://schemas.openxmlformats.org/officeDocument/2006/relationships/slide" Target="slides/slide1.xml" Id="rId25" /><Relationship Type="http://schemas.openxmlformats.org/officeDocument/2006/relationships/slide" Target="slides/slide9.xml" Id="rId33" /><Relationship Type="http://schemas.openxmlformats.org/officeDocument/2006/relationships/slide" Target="slides/slide14.xml" Id="rId38" /><Relationship Type="http://schemas.openxmlformats.org/officeDocument/2006/relationships/slide" Target="slides/slide35.xml" Id="rId59" /><Relationship Type="http://schemas.openxmlformats.org/officeDocument/2006/relationships/customXml" Target="../customXml/item20.xml" Id="rId20" /><Relationship Type="http://schemas.openxmlformats.org/officeDocument/2006/relationships/slide" Target="slides/slide17.xml" Id="rId41" /><Relationship Type="http://schemas.openxmlformats.org/officeDocument/2006/relationships/slide" Target="slides/slide38.xml" Id="rId62" /><Relationship Type="http://schemas.openxmlformats.org/officeDocument/2006/relationships/slide" Target="slides/slide46.xml" Id="rId70" /><Relationship Type="http://schemas.openxmlformats.org/officeDocument/2006/relationships/slide" Target="slides/slide59.xml" Id="rId83" /><Relationship Type="http://schemas.openxmlformats.org/officeDocument/2006/relationships/slide" Target="slides/slide64.xml" Id="rId88" /><Relationship Type="http://schemas.openxmlformats.org/officeDocument/2006/relationships/presProps" Target="presProps.xml" Id="rId91" /><Relationship Type="http://schemas.microsoft.com/office/2018/10/relationships/authors" Target="authors.xml" Id="rId96" /><Relationship Type="http://schemas.openxmlformats.org/officeDocument/2006/relationships/customXml" Target="../customXml/item1.xml" Id="rId1" /><Relationship Type="http://schemas.openxmlformats.org/officeDocument/2006/relationships/customXml" Target="../customXml/item6.xml" Id="rId6" /><Relationship Type="http://schemas.openxmlformats.org/officeDocument/2006/relationships/customXml" Target="../customXml/item15.xml" Id="rId15" /><Relationship Type="http://schemas.openxmlformats.org/officeDocument/2006/relationships/slideMaster" Target="slideMasters/slideMaster2.xml" Id="rId23" /><Relationship Type="http://schemas.openxmlformats.org/officeDocument/2006/relationships/slide" Target="slides/slide4.xml" Id="rId28" /><Relationship Type="http://schemas.openxmlformats.org/officeDocument/2006/relationships/slide" Target="slides/slide12.xml" Id="rId36" /><Relationship Type="http://schemas.openxmlformats.org/officeDocument/2006/relationships/slide" Target="slides/slide25.xml" Id="rId49" /><Relationship Type="http://schemas.openxmlformats.org/officeDocument/2006/relationships/slide" Target="slides/slide33.xml" Id="rId57" /><Relationship Type="http://schemas.openxmlformats.org/officeDocument/2006/relationships/customXml" Target="../customXml/item10.xml" Id="rId10" /><Relationship Type="http://schemas.openxmlformats.org/officeDocument/2006/relationships/slide" Target="slides/slide7.xml" Id="rId31" /><Relationship Type="http://schemas.openxmlformats.org/officeDocument/2006/relationships/slide" Target="slides/slide20.xml" Id="rId44" /><Relationship Type="http://schemas.openxmlformats.org/officeDocument/2006/relationships/slide" Target="slides/slide41.xml" Id="rId65" /><Relationship Type="http://schemas.openxmlformats.org/officeDocument/2006/relationships/slide" Target="slides/slide57.xml" Id="rId81" /><Relationship Type="http://schemas.openxmlformats.org/officeDocument/2006/relationships/slide" Target="slides/slide62.xml" Id="rId86" /><Relationship Type="http://schemas.openxmlformats.org/officeDocument/2006/relationships/tableStyles" Target="tableStyles.xml" Id="rId94" /><Relationship Type="http://schemas.openxmlformats.org/officeDocument/2006/relationships/customXml" Target="../customXml/item4.xml" Id="rId4" /><Relationship Type="http://schemas.openxmlformats.org/officeDocument/2006/relationships/customXml" Target="../customXml/item9.xml" Id="rId9" /><Relationship Type="http://schemas.openxmlformats.org/officeDocument/2006/relationships/customXml" Target="../customXml/item13.xml" Id="rId13" /><Relationship Type="http://schemas.openxmlformats.org/officeDocument/2006/relationships/customXml" Target="../customXml/item18.xml" Id="rId18" /><Relationship Type="http://schemas.openxmlformats.org/officeDocument/2006/relationships/slide" Target="slides/slide10.xml" Id="rId34" /><Relationship Type="http://schemas.openxmlformats.org/officeDocument/2006/relationships/slide" Target="slides/slide26.xml" Id="rId50" /><Relationship Type="http://schemas.openxmlformats.org/officeDocument/2006/relationships/slide" Target="slides/slide31.xml" Id="rId55" /><Relationship Type="http://schemas.openxmlformats.org/officeDocument/2006/relationships/slide" Target="slides/slide52.xml" Id="rId76" /><Relationship Type="http://schemas.openxmlformats.org/officeDocument/2006/relationships/customXml" Target="../customXml/item7.xml" Id="rId7" /><Relationship Type="http://schemas.openxmlformats.org/officeDocument/2006/relationships/slide" Target="slides/slide47.xml" Id="rId71" /><Relationship Type="http://schemas.openxmlformats.org/officeDocument/2006/relationships/viewProps" Target="viewProps.xml" Id="rId92" /><Relationship Type="http://schemas.openxmlformats.org/officeDocument/2006/relationships/customXml" Target="../customXml/item2.xml" Id="rId2" /><Relationship Type="http://schemas.openxmlformats.org/officeDocument/2006/relationships/slide" Target="slides/slide5.xml" Id="rId29" /><Relationship Type="http://schemas.openxmlformats.org/officeDocument/2006/relationships/slideMaster" Target="slideMasters/slideMaster3.xml" Id="rId24" /><Relationship Type="http://schemas.openxmlformats.org/officeDocument/2006/relationships/slide" Target="slides/slide16.xml" Id="rId40" /><Relationship Type="http://schemas.openxmlformats.org/officeDocument/2006/relationships/slide" Target="slides/slide21.xml" Id="rId45" /><Relationship Type="http://schemas.openxmlformats.org/officeDocument/2006/relationships/slide" Target="slides/slide42.xml" Id="rId66" /><Relationship Type="http://schemas.openxmlformats.org/officeDocument/2006/relationships/slide" Target="slides/slide63.xml" Id="rId87" /><Relationship Type="http://schemas.openxmlformats.org/officeDocument/2006/relationships/slide" Target="slides/slide37.xml" Id="rId61" /><Relationship Type="http://schemas.openxmlformats.org/officeDocument/2006/relationships/customXml" Target="../customXml/item19.xml" Id="rId19" /><Relationship Type="http://schemas.openxmlformats.org/officeDocument/2006/relationships/customXml" Target="../customXml/item14.xml" Id="rId14" /><Relationship Type="http://schemas.openxmlformats.org/officeDocument/2006/relationships/slide" Target="slides/slide6.xml" Id="rId30" /><Relationship Type="http://schemas.openxmlformats.org/officeDocument/2006/relationships/slide" Target="slides/slide11.xml" Id="rId35" /><Relationship Type="http://schemas.openxmlformats.org/officeDocument/2006/relationships/slide" Target="slides/slide32.xml" Id="rId56" /><Relationship Type="http://schemas.openxmlformats.org/officeDocument/2006/relationships/slide" Target="slides/slide53.xml" Id="rId77"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Radkiewicz" userId="S::anradkie@microsoft.com::9832534a-7e4f-4058-9c41-7f4a5b855c95" providerId="AD" clId="Web-{89F994BE-EAB9-526B-F27C-E574A4D2D0CC}"/>
    <pc:docChg chg="">
      <pc:chgData name="Tony Radkiewicz" userId="S::anradkie@microsoft.com::9832534a-7e4f-4058-9c41-7f4a5b855c95" providerId="AD" clId="Web-{89F994BE-EAB9-526B-F27C-E574A4D2D0CC}" dt="2021-10-21T16:20:55.837" v="0"/>
      <pc:docMkLst>
        <pc:docMk/>
      </pc:docMkLst>
      <pc:sldChg chg="modCm">
        <pc:chgData name="Tony Radkiewicz" userId="S::anradkie@microsoft.com::9832534a-7e4f-4058-9c41-7f4a5b855c95" providerId="AD" clId="Web-{89F994BE-EAB9-526B-F27C-E574A4D2D0CC}" dt="2021-10-21T16:20:55.837" v="0"/>
        <pc:sldMkLst>
          <pc:docMk/>
          <pc:sldMk cId="642092182" sldId="1822"/>
        </pc:sldMkLst>
      </pc:sldChg>
    </pc:docChg>
  </pc:docChgLst>
  <pc:docChgLst>
    <pc:chgData name="Michael Wiley" userId="c47109c9-80e8-471c-a0d8-79372bbb0a30" providerId="ADAL" clId="{A86B2854-18DB-4FC4-94BC-D2D791C5C4CE}"/>
    <pc:docChg chg="undo redo custSel addSld delSld modSld sldOrd delSection modSection">
      <pc:chgData name="Michael Wiley" userId="c47109c9-80e8-471c-a0d8-79372bbb0a30" providerId="ADAL" clId="{A86B2854-18DB-4FC4-94BC-D2D791C5C4CE}" dt="2021-09-13T13:00:04.494" v="10102" actId="20577"/>
      <pc:docMkLst>
        <pc:docMk/>
      </pc:docMkLst>
      <pc:sldChg chg="mod modShow">
        <pc:chgData name="Michael Wiley" userId="c47109c9-80e8-471c-a0d8-79372bbb0a30" providerId="ADAL" clId="{A86B2854-18DB-4FC4-94BC-D2D791C5C4CE}" dt="2021-08-20T12:22:14.817" v="1203" actId="729"/>
        <pc:sldMkLst>
          <pc:docMk/>
          <pc:sldMk cId="935466089" sldId="260"/>
        </pc:sldMkLst>
      </pc:sldChg>
      <pc:sldChg chg="mod ord modShow">
        <pc:chgData name="Michael Wiley" userId="c47109c9-80e8-471c-a0d8-79372bbb0a30" providerId="ADAL" clId="{A86B2854-18DB-4FC4-94BC-D2D791C5C4CE}" dt="2021-08-20T12:22:49.044" v="1207"/>
        <pc:sldMkLst>
          <pc:docMk/>
          <pc:sldMk cId="211187702" sldId="261"/>
        </pc:sldMkLst>
      </pc:sldChg>
      <pc:sldChg chg="modSp mod ord addCm modNotesTx">
        <pc:chgData name="Michael Wiley" userId="c47109c9-80e8-471c-a0d8-79372bbb0a30" providerId="ADAL" clId="{A86B2854-18DB-4FC4-94BC-D2D791C5C4CE}" dt="2021-08-20T12:36:21.015" v="1423" actId="6549"/>
        <pc:sldMkLst>
          <pc:docMk/>
          <pc:sldMk cId="719765010" sldId="262"/>
        </pc:sldMkLst>
        <pc:spChg chg="mod">
          <ac:chgData name="Michael Wiley" userId="c47109c9-80e8-471c-a0d8-79372bbb0a30" providerId="ADAL" clId="{A86B2854-18DB-4FC4-94BC-D2D791C5C4CE}" dt="2021-08-20T12:30:19.488" v="1295" actId="20577"/>
          <ac:spMkLst>
            <pc:docMk/>
            <pc:sldMk cId="719765010" sldId="262"/>
            <ac:spMk id="2" creationId="{00000000-0000-0000-0000-000000000000}"/>
          </ac:spMkLst>
        </pc:spChg>
        <pc:graphicFrameChg chg="mod modGraphic">
          <ac:chgData name="Michael Wiley" userId="c47109c9-80e8-471c-a0d8-79372bbb0a30" providerId="ADAL" clId="{A86B2854-18DB-4FC4-94BC-D2D791C5C4CE}" dt="2021-08-20T12:34:12.369" v="1366"/>
          <ac:graphicFrameMkLst>
            <pc:docMk/>
            <pc:sldMk cId="719765010" sldId="262"/>
            <ac:graphicFrameMk id="5" creationId="{00000000-0000-0000-0000-000000000000}"/>
          </ac:graphicFrameMkLst>
        </pc:graphicFrameChg>
      </pc:sldChg>
      <pc:sldChg chg="mod modShow">
        <pc:chgData name="Michael Wiley" userId="c47109c9-80e8-471c-a0d8-79372bbb0a30" providerId="ADAL" clId="{A86B2854-18DB-4FC4-94BC-D2D791C5C4CE}" dt="2021-08-20T12:36:49.536" v="1424" actId="729"/>
        <pc:sldMkLst>
          <pc:docMk/>
          <pc:sldMk cId="2299061616" sldId="263"/>
        </pc:sldMkLst>
      </pc:sldChg>
      <pc:sldChg chg="modSp mod modNotesTx">
        <pc:chgData name="Michael Wiley" userId="c47109c9-80e8-471c-a0d8-79372bbb0a30" providerId="ADAL" clId="{A86B2854-18DB-4FC4-94BC-D2D791C5C4CE}" dt="2021-08-19T19:15:08.329" v="382" actId="1076"/>
        <pc:sldMkLst>
          <pc:docMk/>
          <pc:sldMk cId="161585193" sldId="268"/>
        </pc:sldMkLst>
        <pc:spChg chg="mod">
          <ac:chgData name="Michael Wiley" userId="c47109c9-80e8-471c-a0d8-79372bbb0a30" providerId="ADAL" clId="{A86B2854-18DB-4FC4-94BC-D2D791C5C4CE}" dt="2021-08-19T19:15:08.329" v="382" actId="1076"/>
          <ac:spMkLst>
            <pc:docMk/>
            <pc:sldMk cId="161585193" sldId="268"/>
            <ac:spMk id="5" creationId="{A6E2E351-13CF-45CA-9AE1-AF0EFECBC9A5}"/>
          </ac:spMkLst>
        </pc:spChg>
      </pc:sldChg>
      <pc:sldChg chg="mod modShow">
        <pc:chgData name="Michael Wiley" userId="c47109c9-80e8-471c-a0d8-79372bbb0a30" providerId="ADAL" clId="{A86B2854-18DB-4FC4-94BC-D2D791C5C4CE}" dt="2021-08-19T19:15:14.339" v="383" actId="729"/>
        <pc:sldMkLst>
          <pc:docMk/>
          <pc:sldMk cId="1402544174" sldId="269"/>
        </pc:sldMkLst>
      </pc:sldChg>
      <pc:sldChg chg="modNotesTx">
        <pc:chgData name="Michael Wiley" userId="c47109c9-80e8-471c-a0d8-79372bbb0a30" providerId="ADAL" clId="{A86B2854-18DB-4FC4-94BC-D2D791C5C4CE}" dt="2021-08-19T19:32:02.065" v="439" actId="20577"/>
        <pc:sldMkLst>
          <pc:docMk/>
          <pc:sldMk cId="2872290110" sldId="274"/>
        </pc:sldMkLst>
      </pc:sldChg>
      <pc:sldChg chg="del">
        <pc:chgData name="Michael Wiley" userId="c47109c9-80e8-471c-a0d8-79372bbb0a30" providerId="ADAL" clId="{A86B2854-18DB-4FC4-94BC-D2D791C5C4CE}" dt="2021-08-20T12:27:28.367" v="1271" actId="18676"/>
        <pc:sldMkLst>
          <pc:docMk/>
          <pc:sldMk cId="572942074" sldId="276"/>
        </pc:sldMkLst>
      </pc:sldChg>
      <pc:sldChg chg="del">
        <pc:chgData name="Michael Wiley" userId="c47109c9-80e8-471c-a0d8-79372bbb0a30" providerId="ADAL" clId="{A86B2854-18DB-4FC4-94BC-D2D791C5C4CE}" dt="2021-08-20T12:27:28.367" v="1271" actId="18676"/>
        <pc:sldMkLst>
          <pc:docMk/>
          <pc:sldMk cId="2920112136" sldId="277"/>
        </pc:sldMkLst>
      </pc:sldChg>
      <pc:sldChg chg="del">
        <pc:chgData name="Michael Wiley" userId="c47109c9-80e8-471c-a0d8-79372bbb0a30" providerId="ADAL" clId="{A86B2854-18DB-4FC4-94BC-D2D791C5C4CE}" dt="2021-08-20T12:27:28.367" v="1271" actId="18676"/>
        <pc:sldMkLst>
          <pc:docMk/>
          <pc:sldMk cId="995424968" sldId="278"/>
        </pc:sldMkLst>
      </pc:sldChg>
      <pc:sldChg chg="del">
        <pc:chgData name="Michael Wiley" userId="c47109c9-80e8-471c-a0d8-79372bbb0a30" providerId="ADAL" clId="{A86B2854-18DB-4FC4-94BC-D2D791C5C4CE}" dt="2021-08-20T12:27:28.367" v="1271" actId="18676"/>
        <pc:sldMkLst>
          <pc:docMk/>
          <pc:sldMk cId="761881694" sldId="279"/>
        </pc:sldMkLst>
      </pc:sldChg>
      <pc:sldChg chg="del">
        <pc:chgData name="Michael Wiley" userId="c47109c9-80e8-471c-a0d8-79372bbb0a30" providerId="ADAL" clId="{A86B2854-18DB-4FC4-94BC-D2D791C5C4CE}" dt="2021-08-20T12:27:28.367" v="1271" actId="18676"/>
        <pc:sldMkLst>
          <pc:docMk/>
          <pc:sldMk cId="196922032" sldId="280"/>
        </pc:sldMkLst>
      </pc:sldChg>
      <pc:sldChg chg="del">
        <pc:chgData name="Michael Wiley" userId="c47109c9-80e8-471c-a0d8-79372bbb0a30" providerId="ADAL" clId="{A86B2854-18DB-4FC4-94BC-D2D791C5C4CE}" dt="2021-08-20T12:27:28.367" v="1271" actId="18676"/>
        <pc:sldMkLst>
          <pc:docMk/>
          <pc:sldMk cId="68369873" sldId="281"/>
        </pc:sldMkLst>
      </pc:sldChg>
      <pc:sldChg chg="del">
        <pc:chgData name="Michael Wiley" userId="c47109c9-80e8-471c-a0d8-79372bbb0a30" providerId="ADAL" clId="{A86B2854-18DB-4FC4-94BC-D2D791C5C4CE}" dt="2021-08-20T12:27:28.367" v="1271" actId="18676"/>
        <pc:sldMkLst>
          <pc:docMk/>
          <pc:sldMk cId="657772702" sldId="282"/>
        </pc:sldMkLst>
      </pc:sldChg>
      <pc:sldChg chg="del">
        <pc:chgData name="Michael Wiley" userId="c47109c9-80e8-471c-a0d8-79372bbb0a30" providerId="ADAL" clId="{A86B2854-18DB-4FC4-94BC-D2D791C5C4CE}" dt="2021-08-20T12:27:28.367" v="1271" actId="18676"/>
        <pc:sldMkLst>
          <pc:docMk/>
          <pc:sldMk cId="3999425643" sldId="283"/>
        </pc:sldMkLst>
      </pc:sldChg>
      <pc:sldChg chg="del">
        <pc:chgData name="Michael Wiley" userId="c47109c9-80e8-471c-a0d8-79372bbb0a30" providerId="ADAL" clId="{A86B2854-18DB-4FC4-94BC-D2D791C5C4CE}" dt="2021-09-01T19:32:31.144" v="4755" actId="18676"/>
        <pc:sldMkLst>
          <pc:docMk/>
          <pc:sldMk cId="2526809322" sldId="284"/>
        </pc:sldMkLst>
      </pc:sldChg>
      <pc:sldChg chg="del">
        <pc:chgData name="Michael Wiley" userId="c47109c9-80e8-471c-a0d8-79372bbb0a30" providerId="ADAL" clId="{A86B2854-18DB-4FC4-94BC-D2D791C5C4CE}" dt="2021-09-01T19:32:31.144" v="4755" actId="18676"/>
        <pc:sldMkLst>
          <pc:docMk/>
          <pc:sldMk cId="3398398789" sldId="285"/>
        </pc:sldMkLst>
      </pc:sldChg>
      <pc:sldChg chg="del">
        <pc:chgData name="Michael Wiley" userId="c47109c9-80e8-471c-a0d8-79372bbb0a30" providerId="ADAL" clId="{A86B2854-18DB-4FC4-94BC-D2D791C5C4CE}" dt="2021-09-01T19:32:31.144" v="4755" actId="18676"/>
        <pc:sldMkLst>
          <pc:docMk/>
          <pc:sldMk cId="139727351" sldId="286"/>
        </pc:sldMkLst>
      </pc:sldChg>
      <pc:sldChg chg="del">
        <pc:chgData name="Michael Wiley" userId="c47109c9-80e8-471c-a0d8-79372bbb0a30" providerId="ADAL" clId="{A86B2854-18DB-4FC4-94BC-D2D791C5C4CE}" dt="2021-08-20T15:04:38.307" v="2955" actId="2696"/>
        <pc:sldMkLst>
          <pc:docMk/>
          <pc:sldMk cId="145336572" sldId="287"/>
        </pc:sldMkLst>
      </pc:sldChg>
      <pc:sldChg chg="modSp mod modNotesTx">
        <pc:chgData name="Michael Wiley" userId="c47109c9-80e8-471c-a0d8-79372bbb0a30" providerId="ADAL" clId="{A86B2854-18DB-4FC4-94BC-D2D791C5C4CE}" dt="2021-09-01T19:31:18.029" v="4753"/>
        <pc:sldMkLst>
          <pc:docMk/>
          <pc:sldMk cId="1158928145" sldId="287"/>
        </pc:sldMkLst>
        <pc:spChg chg="mod">
          <ac:chgData name="Michael Wiley" userId="c47109c9-80e8-471c-a0d8-79372bbb0a30" providerId="ADAL" clId="{A86B2854-18DB-4FC4-94BC-D2D791C5C4CE}" dt="2021-08-20T15:05:39.842" v="2963" actId="20577"/>
          <ac:spMkLst>
            <pc:docMk/>
            <pc:sldMk cId="1158928145" sldId="287"/>
            <ac:spMk id="2" creationId="{00000000-0000-0000-0000-000000000000}"/>
          </ac:spMkLst>
        </pc:spChg>
        <pc:spChg chg="mod">
          <ac:chgData name="Michael Wiley" userId="c47109c9-80e8-471c-a0d8-79372bbb0a30" providerId="ADAL" clId="{A86B2854-18DB-4FC4-94BC-D2D791C5C4CE}" dt="2021-08-20T16:09:05.143" v="3506" actId="1076"/>
          <ac:spMkLst>
            <pc:docMk/>
            <pc:sldMk cId="1158928145" sldId="287"/>
            <ac:spMk id="3" creationId="{00000000-0000-0000-0000-000000000000}"/>
          </ac:spMkLst>
        </pc:spChg>
        <pc:spChg chg="mod">
          <ac:chgData name="Michael Wiley" userId="c47109c9-80e8-471c-a0d8-79372bbb0a30" providerId="ADAL" clId="{A86B2854-18DB-4FC4-94BC-D2D791C5C4CE}" dt="2021-08-20T16:09:20.974" v="3509" actId="14100"/>
          <ac:spMkLst>
            <pc:docMk/>
            <pc:sldMk cId="1158928145" sldId="287"/>
            <ac:spMk id="6" creationId="{00000000-0000-0000-0000-000000000000}"/>
          </ac:spMkLst>
        </pc:spChg>
        <pc:spChg chg="mod">
          <ac:chgData name="Michael Wiley" userId="c47109c9-80e8-471c-a0d8-79372bbb0a30" providerId="ADAL" clId="{A86B2854-18DB-4FC4-94BC-D2D791C5C4CE}" dt="2021-08-20T16:09:08.912" v="3507" actId="1076"/>
          <ac:spMkLst>
            <pc:docMk/>
            <pc:sldMk cId="1158928145" sldId="287"/>
            <ac:spMk id="8" creationId="{00000000-0000-0000-0000-000000000000}"/>
          </ac:spMkLst>
        </pc:spChg>
      </pc:sldChg>
      <pc:sldChg chg="del">
        <pc:chgData name="Michael Wiley" userId="c47109c9-80e8-471c-a0d8-79372bbb0a30" providerId="ADAL" clId="{A86B2854-18DB-4FC4-94BC-D2D791C5C4CE}" dt="2021-08-20T15:00:13.068" v="2884" actId="47"/>
        <pc:sldMkLst>
          <pc:docMk/>
          <pc:sldMk cId="1874934971" sldId="288"/>
        </pc:sldMkLst>
      </pc:sldChg>
      <pc:sldChg chg="addSp delSp modSp mod ord modNotesTx">
        <pc:chgData name="Michael Wiley" userId="c47109c9-80e8-471c-a0d8-79372bbb0a30" providerId="ADAL" clId="{A86B2854-18DB-4FC4-94BC-D2D791C5C4CE}" dt="2021-08-20T16:31:48.358" v="4144" actId="20577"/>
        <pc:sldMkLst>
          <pc:docMk/>
          <pc:sldMk cId="3004075383" sldId="289"/>
        </pc:sldMkLst>
        <pc:spChg chg="mod">
          <ac:chgData name="Michael Wiley" userId="c47109c9-80e8-471c-a0d8-79372bbb0a30" providerId="ADAL" clId="{A86B2854-18DB-4FC4-94BC-D2D791C5C4CE}" dt="2021-08-20T16:31:48.358" v="4144" actId="20577"/>
          <ac:spMkLst>
            <pc:docMk/>
            <pc:sldMk cId="3004075383" sldId="289"/>
            <ac:spMk id="2" creationId="{00000000-0000-0000-0000-000000000000}"/>
          </ac:spMkLst>
        </pc:spChg>
        <pc:spChg chg="del mod">
          <ac:chgData name="Michael Wiley" userId="c47109c9-80e8-471c-a0d8-79372bbb0a30" providerId="ADAL" clId="{A86B2854-18DB-4FC4-94BC-D2D791C5C4CE}" dt="2021-08-20T16:15:51.193" v="3737" actId="478"/>
          <ac:spMkLst>
            <pc:docMk/>
            <pc:sldMk cId="3004075383" sldId="289"/>
            <ac:spMk id="3" creationId="{00000000-0000-0000-0000-000000000000}"/>
          </ac:spMkLst>
        </pc:spChg>
        <pc:spChg chg="add mod">
          <ac:chgData name="Michael Wiley" userId="c47109c9-80e8-471c-a0d8-79372bbb0a30" providerId="ADAL" clId="{A86B2854-18DB-4FC4-94BC-D2D791C5C4CE}" dt="2021-08-20T16:29:23.438" v="4137" actId="6549"/>
          <ac:spMkLst>
            <pc:docMk/>
            <pc:sldMk cId="3004075383" sldId="289"/>
            <ac:spMk id="4" creationId="{16643B86-A377-4AC8-8AAA-04DD80B08CBB}"/>
          </ac:spMkLst>
        </pc:spChg>
        <pc:spChg chg="del">
          <ac:chgData name="Michael Wiley" userId="c47109c9-80e8-471c-a0d8-79372bbb0a30" providerId="ADAL" clId="{A86B2854-18DB-4FC4-94BC-D2D791C5C4CE}" dt="2021-08-20T16:11:28.445" v="3551" actId="478"/>
          <ac:spMkLst>
            <pc:docMk/>
            <pc:sldMk cId="3004075383" sldId="289"/>
            <ac:spMk id="6" creationId="{98988B22-334B-4A7A-99E8-62B53E0CD332}"/>
          </ac:spMkLst>
        </pc:spChg>
        <pc:spChg chg="del">
          <ac:chgData name="Michael Wiley" userId="c47109c9-80e8-471c-a0d8-79372bbb0a30" providerId="ADAL" clId="{A86B2854-18DB-4FC4-94BC-D2D791C5C4CE}" dt="2021-08-20T16:13:12.497" v="3601" actId="478"/>
          <ac:spMkLst>
            <pc:docMk/>
            <pc:sldMk cId="3004075383" sldId="289"/>
            <ac:spMk id="7" creationId="{C04B2E1C-5BEF-44AC-9F5D-4DD0C8EFB696}"/>
          </ac:spMkLst>
        </pc:spChg>
        <pc:spChg chg="del mod">
          <ac:chgData name="Michael Wiley" userId="c47109c9-80e8-471c-a0d8-79372bbb0a30" providerId="ADAL" clId="{A86B2854-18DB-4FC4-94BC-D2D791C5C4CE}" dt="2021-08-20T16:16:29.643" v="3744" actId="478"/>
          <ac:spMkLst>
            <pc:docMk/>
            <pc:sldMk cId="3004075383" sldId="289"/>
            <ac:spMk id="8" creationId="{FC77F8CC-DFB7-4E11-949C-2EC54B3034E5}"/>
          </ac:spMkLst>
        </pc:spChg>
        <pc:spChg chg="del mod">
          <ac:chgData name="Michael Wiley" userId="c47109c9-80e8-471c-a0d8-79372bbb0a30" providerId="ADAL" clId="{A86B2854-18DB-4FC4-94BC-D2D791C5C4CE}" dt="2021-08-20T16:08:56.717" v="3505" actId="478"/>
          <ac:spMkLst>
            <pc:docMk/>
            <pc:sldMk cId="3004075383" sldId="289"/>
            <ac:spMk id="9" creationId="{907BB6BC-C18C-4F30-8FC7-1360BB8BC988}"/>
          </ac:spMkLst>
        </pc:spChg>
        <pc:spChg chg="add del mod">
          <ac:chgData name="Michael Wiley" userId="c47109c9-80e8-471c-a0d8-79372bbb0a30" providerId="ADAL" clId="{A86B2854-18DB-4FC4-94BC-D2D791C5C4CE}" dt="2021-08-20T16:16:13.858" v="3741" actId="478"/>
          <ac:spMkLst>
            <pc:docMk/>
            <pc:sldMk cId="3004075383" sldId="289"/>
            <ac:spMk id="11" creationId="{B98C2AD5-331E-4219-800A-221C2A915A82}"/>
          </ac:spMkLst>
        </pc:spChg>
        <pc:spChg chg="add del mod">
          <ac:chgData name="Michael Wiley" userId="c47109c9-80e8-471c-a0d8-79372bbb0a30" providerId="ADAL" clId="{A86B2854-18DB-4FC4-94BC-D2D791C5C4CE}" dt="2021-08-20T16:21:55.490" v="3931" actId="478"/>
          <ac:spMkLst>
            <pc:docMk/>
            <pc:sldMk cId="3004075383" sldId="289"/>
            <ac:spMk id="12" creationId="{675630EF-1AF7-4C88-8A95-F08D4EDADB28}"/>
          </ac:spMkLst>
        </pc:spChg>
        <pc:spChg chg="add mod">
          <ac:chgData name="Michael Wiley" userId="c47109c9-80e8-471c-a0d8-79372bbb0a30" providerId="ADAL" clId="{A86B2854-18DB-4FC4-94BC-D2D791C5C4CE}" dt="2021-08-20T16:27:36.225" v="4055" actId="1076"/>
          <ac:spMkLst>
            <pc:docMk/>
            <pc:sldMk cId="3004075383" sldId="289"/>
            <ac:spMk id="14" creationId="{5F9CF85F-BD20-4B8B-9D76-6096BACEBC58}"/>
          </ac:spMkLst>
        </pc:spChg>
        <pc:spChg chg="add mod">
          <ac:chgData name="Michael Wiley" userId="c47109c9-80e8-471c-a0d8-79372bbb0a30" providerId="ADAL" clId="{A86B2854-18DB-4FC4-94BC-D2D791C5C4CE}" dt="2021-08-20T16:27:26.764" v="4053" actId="113"/>
          <ac:spMkLst>
            <pc:docMk/>
            <pc:sldMk cId="3004075383" sldId="289"/>
            <ac:spMk id="16" creationId="{1D54358D-E2F3-48A7-B3CE-F68AFC373CCF}"/>
          </ac:spMkLst>
        </pc:spChg>
      </pc:sldChg>
      <pc:sldChg chg="del">
        <pc:chgData name="Michael Wiley" userId="c47109c9-80e8-471c-a0d8-79372bbb0a30" providerId="ADAL" clId="{A86B2854-18DB-4FC4-94BC-D2D791C5C4CE}" dt="2021-09-01T19:32:31.144" v="4755" actId="18676"/>
        <pc:sldMkLst>
          <pc:docMk/>
          <pc:sldMk cId="2618588766" sldId="290"/>
        </pc:sldMkLst>
      </pc:sldChg>
      <pc:sldChg chg="del">
        <pc:chgData name="Michael Wiley" userId="c47109c9-80e8-471c-a0d8-79372bbb0a30" providerId="ADAL" clId="{A86B2854-18DB-4FC4-94BC-D2D791C5C4CE}" dt="2021-09-01T19:32:31.144" v="4755" actId="18676"/>
        <pc:sldMkLst>
          <pc:docMk/>
          <pc:sldMk cId="667682270" sldId="291"/>
        </pc:sldMkLst>
      </pc:sldChg>
      <pc:sldChg chg="modSp mod ord modNotesTx">
        <pc:chgData name="Michael Wiley" userId="c47109c9-80e8-471c-a0d8-79372bbb0a30" providerId="ADAL" clId="{A86B2854-18DB-4FC4-94BC-D2D791C5C4CE}" dt="2021-08-20T14:33:13.869" v="2318" actId="6549"/>
        <pc:sldMkLst>
          <pc:docMk/>
          <pc:sldMk cId="2234139494" sldId="292"/>
        </pc:sldMkLst>
        <pc:spChg chg="mod">
          <ac:chgData name="Michael Wiley" userId="c47109c9-80e8-471c-a0d8-79372bbb0a30" providerId="ADAL" clId="{A86B2854-18DB-4FC4-94BC-D2D791C5C4CE}" dt="2021-08-20T14:22:33.173" v="1905" actId="1076"/>
          <ac:spMkLst>
            <pc:docMk/>
            <pc:sldMk cId="2234139494" sldId="292"/>
            <ac:spMk id="10" creationId="{00000000-0000-0000-0000-000000000000}"/>
          </ac:spMkLst>
        </pc:spChg>
      </pc:sldChg>
      <pc:sldChg chg="modSp mod ord modShow">
        <pc:chgData name="Michael Wiley" userId="c47109c9-80e8-471c-a0d8-79372bbb0a30" providerId="ADAL" clId="{A86B2854-18DB-4FC4-94BC-D2D791C5C4CE}" dt="2021-09-01T17:19:05.178" v="4167" actId="14100"/>
        <pc:sldMkLst>
          <pc:docMk/>
          <pc:sldMk cId="1111006109" sldId="293"/>
        </pc:sldMkLst>
        <pc:spChg chg="mod">
          <ac:chgData name="Michael Wiley" userId="c47109c9-80e8-471c-a0d8-79372bbb0a30" providerId="ADAL" clId="{A86B2854-18DB-4FC4-94BC-D2D791C5C4CE}" dt="2021-09-01T17:19:05.178" v="4167" actId="14100"/>
          <ac:spMkLst>
            <pc:docMk/>
            <pc:sldMk cId="1111006109" sldId="293"/>
            <ac:spMk id="18" creationId="{00000000-0000-0000-0000-000000000000}"/>
          </ac:spMkLst>
        </pc:spChg>
      </pc:sldChg>
      <pc:sldChg chg="del mod ord modShow">
        <pc:chgData name="Michael Wiley" userId="c47109c9-80e8-471c-a0d8-79372bbb0a30" providerId="ADAL" clId="{A86B2854-18DB-4FC4-94BC-D2D791C5C4CE}" dt="2021-08-20T14:16:19.933" v="1763" actId="47"/>
        <pc:sldMkLst>
          <pc:docMk/>
          <pc:sldMk cId="263348102" sldId="294"/>
        </pc:sldMkLst>
      </pc:sldChg>
      <pc:sldChg chg="del mod ord modShow">
        <pc:chgData name="Michael Wiley" userId="c47109c9-80e8-471c-a0d8-79372bbb0a30" providerId="ADAL" clId="{A86B2854-18DB-4FC4-94BC-D2D791C5C4CE}" dt="2021-08-20T14:51:58.646" v="2825" actId="47"/>
        <pc:sldMkLst>
          <pc:docMk/>
          <pc:sldMk cId="3440014332" sldId="295"/>
        </pc:sldMkLst>
      </pc:sldChg>
      <pc:sldChg chg="del mod ord modShow">
        <pc:chgData name="Michael Wiley" userId="c47109c9-80e8-471c-a0d8-79372bbb0a30" providerId="ADAL" clId="{A86B2854-18DB-4FC4-94BC-D2D791C5C4CE}" dt="2021-08-20T14:52:01.609" v="2826" actId="47"/>
        <pc:sldMkLst>
          <pc:docMk/>
          <pc:sldMk cId="1433038439" sldId="296"/>
        </pc:sldMkLst>
      </pc:sldChg>
      <pc:sldChg chg="ord">
        <pc:chgData name="Michael Wiley" userId="c47109c9-80e8-471c-a0d8-79372bbb0a30" providerId="ADAL" clId="{A86B2854-18DB-4FC4-94BC-D2D791C5C4CE}" dt="2021-08-20T16:30:49.594" v="4140"/>
        <pc:sldMkLst>
          <pc:docMk/>
          <pc:sldMk cId="999495629" sldId="297"/>
        </pc:sldMkLst>
      </pc:sldChg>
      <pc:sldChg chg="ord modNotesTx">
        <pc:chgData name="Michael Wiley" userId="c47109c9-80e8-471c-a0d8-79372bbb0a30" providerId="ADAL" clId="{A86B2854-18DB-4FC4-94BC-D2D791C5C4CE}" dt="2021-09-01T19:27:05.594" v="4748" actId="20577"/>
        <pc:sldMkLst>
          <pc:docMk/>
          <pc:sldMk cId="3399022257" sldId="298"/>
        </pc:sldMkLst>
      </pc:sldChg>
      <pc:sldChg chg="ord">
        <pc:chgData name="Michael Wiley" userId="c47109c9-80e8-471c-a0d8-79372bbb0a30" providerId="ADAL" clId="{A86B2854-18DB-4FC4-94BC-D2D791C5C4CE}" dt="2021-08-20T13:51:22.536" v="1536"/>
        <pc:sldMkLst>
          <pc:docMk/>
          <pc:sldMk cId="3901504961" sldId="299"/>
        </pc:sldMkLst>
      </pc:sldChg>
      <pc:sldChg chg="del mod modShow">
        <pc:chgData name="Michael Wiley" userId="c47109c9-80e8-471c-a0d8-79372bbb0a30" providerId="ADAL" clId="{A86B2854-18DB-4FC4-94BC-D2D791C5C4CE}" dt="2021-09-01T19:44:36.927" v="5275" actId="47"/>
        <pc:sldMkLst>
          <pc:docMk/>
          <pc:sldMk cId="3333334114" sldId="301"/>
        </pc:sldMkLst>
      </pc:sldChg>
      <pc:sldChg chg="modSp mod modShow">
        <pc:chgData name="Michael Wiley" userId="c47109c9-80e8-471c-a0d8-79372bbb0a30" providerId="ADAL" clId="{A86B2854-18DB-4FC4-94BC-D2D791C5C4CE}" dt="2021-09-02T16:29:19.701" v="9243" actId="729"/>
        <pc:sldMkLst>
          <pc:docMk/>
          <pc:sldMk cId="197440306" sldId="302"/>
        </pc:sldMkLst>
        <pc:spChg chg="mod">
          <ac:chgData name="Michael Wiley" userId="c47109c9-80e8-471c-a0d8-79372bbb0a30" providerId="ADAL" clId="{A86B2854-18DB-4FC4-94BC-D2D791C5C4CE}" dt="2021-09-02T16:29:11.292" v="9241" actId="20577"/>
          <ac:spMkLst>
            <pc:docMk/>
            <pc:sldMk cId="197440306" sldId="302"/>
            <ac:spMk id="9" creationId="{00000000-0000-0000-0000-000000000000}"/>
          </ac:spMkLst>
        </pc:spChg>
      </pc:sldChg>
      <pc:sldChg chg="del">
        <pc:chgData name="Michael Wiley" userId="c47109c9-80e8-471c-a0d8-79372bbb0a30" providerId="ADAL" clId="{A86B2854-18DB-4FC4-94BC-D2D791C5C4CE}" dt="2021-09-01T20:13:18.653" v="5486" actId="2696"/>
        <pc:sldMkLst>
          <pc:docMk/>
          <pc:sldMk cId="797077419" sldId="302"/>
        </pc:sldMkLst>
      </pc:sldChg>
      <pc:sldChg chg="addSp delSp modSp mod modShow addCm">
        <pc:chgData name="Michael Wiley" userId="c47109c9-80e8-471c-a0d8-79372bbb0a30" providerId="ADAL" clId="{A86B2854-18DB-4FC4-94BC-D2D791C5C4CE}" dt="2021-09-02T14:39:46.618" v="7443"/>
        <pc:sldMkLst>
          <pc:docMk/>
          <pc:sldMk cId="90045176" sldId="303"/>
        </pc:sldMkLst>
        <pc:spChg chg="add mod">
          <ac:chgData name="Michael Wiley" userId="c47109c9-80e8-471c-a0d8-79372bbb0a30" providerId="ADAL" clId="{A86B2854-18DB-4FC4-94BC-D2D791C5C4CE}" dt="2021-09-02T13:15:35.675" v="5596" actId="478"/>
          <ac:spMkLst>
            <pc:docMk/>
            <pc:sldMk cId="90045176" sldId="303"/>
            <ac:spMk id="5" creationId="{086790D2-6FD0-4ED4-9ABC-EBD84A6CF1DA}"/>
          </ac:spMkLst>
        </pc:spChg>
        <pc:spChg chg="del">
          <ac:chgData name="Michael Wiley" userId="c47109c9-80e8-471c-a0d8-79372bbb0a30" providerId="ADAL" clId="{A86B2854-18DB-4FC4-94BC-D2D791C5C4CE}" dt="2021-09-02T13:15:35.675" v="5596" actId="478"/>
          <ac:spMkLst>
            <pc:docMk/>
            <pc:sldMk cId="90045176" sldId="303"/>
            <ac:spMk id="7" creationId="{664CBECD-FD64-4C46-88EF-04C66833779E}"/>
          </ac:spMkLst>
        </pc:spChg>
      </pc:sldChg>
      <pc:sldChg chg="mod modShow">
        <pc:chgData name="Michael Wiley" userId="c47109c9-80e8-471c-a0d8-79372bbb0a30" providerId="ADAL" clId="{A86B2854-18DB-4FC4-94BC-D2D791C5C4CE}" dt="2021-09-01T20:09:21.740" v="5484" actId="729"/>
        <pc:sldMkLst>
          <pc:docMk/>
          <pc:sldMk cId="1031054772" sldId="304"/>
        </pc:sldMkLst>
      </pc:sldChg>
      <pc:sldChg chg="addSp delSp modSp mod ord modNotesTx">
        <pc:chgData name="Michael Wiley" userId="c47109c9-80e8-471c-a0d8-79372bbb0a30" providerId="ADAL" clId="{A86B2854-18DB-4FC4-94BC-D2D791C5C4CE}" dt="2021-09-02T16:40:32.298" v="9665" actId="313"/>
        <pc:sldMkLst>
          <pc:docMk/>
          <pc:sldMk cId="2114614514" sldId="305"/>
        </pc:sldMkLst>
        <pc:spChg chg="mod">
          <ac:chgData name="Michael Wiley" userId="c47109c9-80e8-471c-a0d8-79372bbb0a30" providerId="ADAL" clId="{A86B2854-18DB-4FC4-94BC-D2D791C5C4CE}" dt="2021-09-01T19:48:12.822" v="5283" actId="6549"/>
          <ac:spMkLst>
            <pc:docMk/>
            <pc:sldMk cId="2114614514" sldId="305"/>
            <ac:spMk id="2" creationId="{53A63977-4617-413B-86F5-7E49C225DAD0}"/>
          </ac:spMkLst>
        </pc:spChg>
        <pc:spChg chg="add del mod">
          <ac:chgData name="Michael Wiley" userId="c47109c9-80e8-471c-a0d8-79372bbb0a30" providerId="ADAL" clId="{A86B2854-18DB-4FC4-94BC-D2D791C5C4CE}" dt="2021-09-01T19:48:26.762" v="5285" actId="478"/>
          <ac:spMkLst>
            <pc:docMk/>
            <pc:sldMk cId="2114614514" sldId="305"/>
            <ac:spMk id="5" creationId="{4386A968-3205-47ED-B8C7-33DEDCBCF2E6}"/>
          </ac:spMkLst>
        </pc:spChg>
        <pc:spChg chg="add del mod">
          <ac:chgData name="Michael Wiley" userId="c47109c9-80e8-471c-a0d8-79372bbb0a30" providerId="ADAL" clId="{A86B2854-18DB-4FC4-94BC-D2D791C5C4CE}" dt="2021-09-01T20:02:03.953" v="5408" actId="478"/>
          <ac:spMkLst>
            <pc:docMk/>
            <pc:sldMk cId="2114614514" sldId="305"/>
            <ac:spMk id="6" creationId="{DAE51D15-3DB0-4B53-B401-FEE8994E9E52}"/>
          </ac:spMkLst>
        </pc:spChg>
        <pc:spChg chg="mod ord">
          <ac:chgData name="Michael Wiley" userId="c47109c9-80e8-471c-a0d8-79372bbb0a30" providerId="ADAL" clId="{A86B2854-18DB-4FC4-94BC-D2D791C5C4CE}" dt="2021-09-02T16:40:32.298" v="9665" actId="313"/>
          <ac:spMkLst>
            <pc:docMk/>
            <pc:sldMk cId="2114614514" sldId="305"/>
            <ac:spMk id="10" creationId="{00000000-0000-0000-0000-000000000000}"/>
          </ac:spMkLst>
        </pc:spChg>
        <pc:spChg chg="mod topLvl">
          <ac:chgData name="Michael Wiley" userId="c47109c9-80e8-471c-a0d8-79372bbb0a30" providerId="ADAL" clId="{A86B2854-18DB-4FC4-94BC-D2D791C5C4CE}" dt="2021-09-01T20:07:56.794" v="5480" actId="1076"/>
          <ac:spMkLst>
            <pc:docMk/>
            <pc:sldMk cId="2114614514" sldId="305"/>
            <ac:spMk id="11" creationId="{FB597160-591E-425E-86D2-FD62313F1471}"/>
          </ac:spMkLst>
        </pc:spChg>
        <pc:spChg chg="del mod topLvl">
          <ac:chgData name="Michael Wiley" userId="c47109c9-80e8-471c-a0d8-79372bbb0a30" providerId="ADAL" clId="{A86B2854-18DB-4FC4-94BC-D2D791C5C4CE}" dt="2021-09-01T19:52:53.651" v="5292" actId="478"/>
          <ac:spMkLst>
            <pc:docMk/>
            <pc:sldMk cId="2114614514" sldId="305"/>
            <ac:spMk id="12" creationId="{40F38B70-DA65-4725-9628-C9C42CCA7215}"/>
          </ac:spMkLst>
        </pc:spChg>
        <pc:spChg chg="del">
          <ac:chgData name="Michael Wiley" userId="c47109c9-80e8-471c-a0d8-79372bbb0a30" providerId="ADAL" clId="{A86B2854-18DB-4FC4-94BC-D2D791C5C4CE}" dt="2021-09-01T19:48:17.196" v="5284" actId="478"/>
          <ac:spMkLst>
            <pc:docMk/>
            <pc:sldMk cId="2114614514" sldId="305"/>
            <ac:spMk id="13" creationId="{28F14966-3DF0-46AB-B37C-C3F47EA46DD1}"/>
          </ac:spMkLst>
        </pc:spChg>
        <pc:spChg chg="add mod">
          <ac:chgData name="Michael Wiley" userId="c47109c9-80e8-471c-a0d8-79372bbb0a30" providerId="ADAL" clId="{A86B2854-18DB-4FC4-94BC-D2D791C5C4CE}" dt="2021-09-01T20:08:16.208" v="5482" actId="1076"/>
          <ac:spMkLst>
            <pc:docMk/>
            <pc:sldMk cId="2114614514" sldId="305"/>
            <ac:spMk id="15" creationId="{55FA0F30-D98B-49B2-8612-12A61EA41194}"/>
          </ac:spMkLst>
        </pc:spChg>
        <pc:grpChg chg="del">
          <ac:chgData name="Michael Wiley" userId="c47109c9-80e8-471c-a0d8-79372bbb0a30" providerId="ADAL" clId="{A86B2854-18DB-4FC4-94BC-D2D791C5C4CE}" dt="2021-09-01T19:52:53.651" v="5292" actId="478"/>
          <ac:grpSpMkLst>
            <pc:docMk/>
            <pc:sldMk cId="2114614514" sldId="305"/>
            <ac:grpSpMk id="3" creationId="{27BCA1B1-99C5-4F02-AB7F-BFD8372A2EDF}"/>
          </ac:grpSpMkLst>
        </pc:grpChg>
      </pc:sldChg>
      <pc:sldChg chg="modNotesTx">
        <pc:chgData name="Michael Wiley" userId="c47109c9-80e8-471c-a0d8-79372bbb0a30" providerId="ADAL" clId="{A86B2854-18DB-4FC4-94BC-D2D791C5C4CE}" dt="2021-09-01T20:11:26.354" v="5485"/>
        <pc:sldMkLst>
          <pc:docMk/>
          <pc:sldMk cId="190264426" sldId="306"/>
        </pc:sldMkLst>
      </pc:sldChg>
      <pc:sldChg chg="modSp mod">
        <pc:chgData name="Michael Wiley" userId="c47109c9-80e8-471c-a0d8-79372bbb0a30" providerId="ADAL" clId="{A86B2854-18DB-4FC4-94BC-D2D791C5C4CE}" dt="2021-09-02T14:31:41.370" v="7435" actId="20577"/>
        <pc:sldMkLst>
          <pc:docMk/>
          <pc:sldMk cId="2164215295" sldId="308"/>
        </pc:sldMkLst>
        <pc:spChg chg="mod">
          <ac:chgData name="Michael Wiley" userId="c47109c9-80e8-471c-a0d8-79372bbb0a30" providerId="ADAL" clId="{A86B2854-18DB-4FC4-94BC-D2D791C5C4CE}" dt="2021-09-02T14:31:41.370" v="7435" actId="20577"/>
          <ac:spMkLst>
            <pc:docMk/>
            <pc:sldMk cId="2164215295" sldId="308"/>
            <ac:spMk id="4" creationId="{9CBC6F63-616D-478D-A91D-8B071350BF64}"/>
          </ac:spMkLst>
        </pc:spChg>
      </pc:sldChg>
      <pc:sldChg chg="mod ord modShow">
        <pc:chgData name="Michael Wiley" userId="c47109c9-80e8-471c-a0d8-79372bbb0a30" providerId="ADAL" clId="{A86B2854-18DB-4FC4-94BC-D2D791C5C4CE}" dt="2021-09-02T14:09:05.017" v="6855" actId="729"/>
        <pc:sldMkLst>
          <pc:docMk/>
          <pc:sldMk cId="3716049017" sldId="309"/>
        </pc:sldMkLst>
      </pc:sldChg>
      <pc:sldChg chg="modSp mod modShow">
        <pc:chgData name="Michael Wiley" userId="c47109c9-80e8-471c-a0d8-79372bbb0a30" providerId="ADAL" clId="{A86B2854-18DB-4FC4-94BC-D2D791C5C4CE}" dt="2021-09-02T14:26:12.742" v="7229" actId="729"/>
        <pc:sldMkLst>
          <pc:docMk/>
          <pc:sldMk cId="3122455038" sldId="310"/>
        </pc:sldMkLst>
        <pc:spChg chg="mod">
          <ac:chgData name="Michael Wiley" userId="c47109c9-80e8-471c-a0d8-79372bbb0a30" providerId="ADAL" clId="{A86B2854-18DB-4FC4-94BC-D2D791C5C4CE}" dt="2021-09-02T14:04:47.902" v="6852" actId="20577"/>
          <ac:spMkLst>
            <pc:docMk/>
            <pc:sldMk cId="3122455038" sldId="310"/>
            <ac:spMk id="2" creationId="{F10CF265-FDED-48B4-B9C5-A3DD937D93DE}"/>
          </ac:spMkLst>
        </pc:spChg>
      </pc:sldChg>
      <pc:sldChg chg="modNotesTx">
        <pc:chgData name="Michael Wiley" userId="c47109c9-80e8-471c-a0d8-79372bbb0a30" providerId="ADAL" clId="{A86B2854-18DB-4FC4-94BC-D2D791C5C4CE}" dt="2021-09-02T14:29:23.814" v="7395" actId="6549"/>
        <pc:sldMkLst>
          <pc:docMk/>
          <pc:sldMk cId="2478485748" sldId="311"/>
        </pc:sldMkLst>
      </pc:sldChg>
      <pc:sldChg chg="modSp mod">
        <pc:chgData name="Michael Wiley" userId="c47109c9-80e8-471c-a0d8-79372bbb0a30" providerId="ADAL" clId="{A86B2854-18DB-4FC4-94BC-D2D791C5C4CE}" dt="2021-09-02T14:32:06.700" v="7442" actId="20577"/>
        <pc:sldMkLst>
          <pc:docMk/>
          <pc:sldMk cId="3113678837" sldId="312"/>
        </pc:sldMkLst>
        <pc:spChg chg="mod">
          <ac:chgData name="Michael Wiley" userId="c47109c9-80e8-471c-a0d8-79372bbb0a30" providerId="ADAL" clId="{A86B2854-18DB-4FC4-94BC-D2D791C5C4CE}" dt="2021-09-02T14:32:06.700" v="7442" actId="20577"/>
          <ac:spMkLst>
            <pc:docMk/>
            <pc:sldMk cId="3113678837" sldId="312"/>
            <ac:spMk id="4" creationId="{9CBC6F63-616D-478D-A91D-8B071350BF64}"/>
          </ac:spMkLst>
        </pc:spChg>
      </pc:sldChg>
      <pc:sldChg chg="delSp modSp mod delAnim addCm modNotesTx">
        <pc:chgData name="Michael Wiley" userId="c47109c9-80e8-471c-a0d8-79372bbb0a30" providerId="ADAL" clId="{A86B2854-18DB-4FC4-94BC-D2D791C5C4CE}" dt="2021-09-02T15:49:49.038" v="8891"/>
        <pc:sldMkLst>
          <pc:docMk/>
          <pc:sldMk cId="504677626" sldId="313"/>
        </pc:sldMkLst>
        <pc:spChg chg="del">
          <ac:chgData name="Michael Wiley" userId="c47109c9-80e8-471c-a0d8-79372bbb0a30" providerId="ADAL" clId="{A86B2854-18DB-4FC4-94BC-D2D791C5C4CE}" dt="2021-09-02T15:34:36.845" v="8483" actId="478"/>
          <ac:spMkLst>
            <pc:docMk/>
            <pc:sldMk cId="504677626" sldId="313"/>
            <ac:spMk id="8" creationId="{00000000-0000-0000-0000-000000000000}"/>
          </ac:spMkLst>
        </pc:spChg>
        <pc:spChg chg="mod">
          <ac:chgData name="Michael Wiley" userId="c47109c9-80e8-471c-a0d8-79372bbb0a30" providerId="ADAL" clId="{A86B2854-18DB-4FC4-94BC-D2D791C5C4CE}" dt="2021-09-02T15:36:36.972" v="8546" actId="255"/>
          <ac:spMkLst>
            <pc:docMk/>
            <pc:sldMk cId="504677626" sldId="313"/>
            <ac:spMk id="9" creationId="{C06843CA-929D-4337-85FD-CE64A50D9286}"/>
          </ac:spMkLst>
        </pc:spChg>
      </pc:sldChg>
      <pc:sldChg chg="del">
        <pc:chgData name="Michael Wiley" userId="c47109c9-80e8-471c-a0d8-79372bbb0a30" providerId="ADAL" clId="{A86B2854-18DB-4FC4-94BC-D2D791C5C4CE}" dt="2021-09-02T15:42:16.864" v="8802" actId="47"/>
        <pc:sldMkLst>
          <pc:docMk/>
          <pc:sldMk cId="3412948985" sldId="314"/>
        </pc:sldMkLst>
      </pc:sldChg>
      <pc:sldChg chg="del">
        <pc:chgData name="Michael Wiley" userId="c47109c9-80e8-471c-a0d8-79372bbb0a30" providerId="ADAL" clId="{A86B2854-18DB-4FC4-94BC-D2D791C5C4CE}" dt="2021-09-02T15:43:04.140" v="8804" actId="47"/>
        <pc:sldMkLst>
          <pc:docMk/>
          <pc:sldMk cId="341583360" sldId="315"/>
        </pc:sldMkLst>
      </pc:sldChg>
      <pc:sldChg chg="modSp mod ord modNotesTx">
        <pc:chgData name="Michael Wiley" userId="c47109c9-80e8-471c-a0d8-79372bbb0a30" providerId="ADAL" clId="{A86B2854-18DB-4FC4-94BC-D2D791C5C4CE}" dt="2021-09-02T16:41:46.608" v="9760" actId="20577"/>
        <pc:sldMkLst>
          <pc:docMk/>
          <pc:sldMk cId="1594437921" sldId="316"/>
        </pc:sldMkLst>
        <pc:spChg chg="mod">
          <ac:chgData name="Michael Wiley" userId="c47109c9-80e8-471c-a0d8-79372bbb0a30" providerId="ADAL" clId="{A86B2854-18DB-4FC4-94BC-D2D791C5C4CE}" dt="2021-09-02T16:39:46.498" v="9656" actId="113"/>
          <ac:spMkLst>
            <pc:docMk/>
            <pc:sldMk cId="1594437921" sldId="316"/>
            <ac:spMk id="8" creationId="{00000000-0000-0000-0000-000000000000}"/>
          </ac:spMkLst>
        </pc:spChg>
        <pc:spChg chg="mod">
          <ac:chgData name="Michael Wiley" userId="c47109c9-80e8-471c-a0d8-79372bbb0a30" providerId="ADAL" clId="{A86B2854-18DB-4FC4-94BC-D2D791C5C4CE}" dt="2021-09-02T15:56:46.619" v="8928" actId="6549"/>
          <ac:spMkLst>
            <pc:docMk/>
            <pc:sldMk cId="1594437921" sldId="316"/>
            <ac:spMk id="9" creationId="{02B60DD8-EFE6-4E4F-A6A0-56F59F7F6D5C}"/>
          </ac:spMkLst>
        </pc:spChg>
      </pc:sldChg>
      <pc:sldChg chg="modSp mod modShow">
        <pc:chgData name="Michael Wiley" userId="c47109c9-80e8-471c-a0d8-79372bbb0a30" providerId="ADAL" clId="{A86B2854-18DB-4FC4-94BC-D2D791C5C4CE}" dt="2021-09-02T15:59:35.324" v="8957" actId="729"/>
        <pc:sldMkLst>
          <pc:docMk/>
          <pc:sldMk cId="3466582334" sldId="317"/>
        </pc:sldMkLst>
        <pc:spChg chg="mod">
          <ac:chgData name="Michael Wiley" userId="c47109c9-80e8-471c-a0d8-79372bbb0a30" providerId="ADAL" clId="{A86B2854-18DB-4FC4-94BC-D2D791C5C4CE}" dt="2021-09-02T15:58:29.747" v="8955" actId="20577"/>
          <ac:spMkLst>
            <pc:docMk/>
            <pc:sldMk cId="3466582334" sldId="317"/>
            <ac:spMk id="3" creationId="{00000000-0000-0000-0000-000000000000}"/>
          </ac:spMkLst>
        </pc:spChg>
      </pc:sldChg>
      <pc:sldChg chg="modNotesTx">
        <pc:chgData name="Michael Wiley" userId="c47109c9-80e8-471c-a0d8-79372bbb0a30" providerId="ADAL" clId="{A86B2854-18DB-4FC4-94BC-D2D791C5C4CE}" dt="2021-09-02T16:28:26.447" v="9213" actId="20577"/>
        <pc:sldMkLst>
          <pc:docMk/>
          <pc:sldMk cId="2312583116" sldId="318"/>
        </pc:sldMkLst>
      </pc:sldChg>
      <pc:sldChg chg="del">
        <pc:chgData name="Michael Wiley" userId="c47109c9-80e8-471c-a0d8-79372bbb0a30" providerId="ADAL" clId="{A86B2854-18DB-4FC4-94BC-D2D791C5C4CE}" dt="2021-08-20T12:22:34.644" v="1204" actId="2696"/>
        <pc:sldMkLst>
          <pc:docMk/>
          <pc:sldMk cId="3129656293" sldId="322"/>
        </pc:sldMkLst>
      </pc:sldChg>
      <pc:sldChg chg="modSp del mod ord modShow">
        <pc:chgData name="Michael Wiley" userId="c47109c9-80e8-471c-a0d8-79372bbb0a30" providerId="ADAL" clId="{A86B2854-18DB-4FC4-94BC-D2D791C5C4CE}" dt="2021-08-20T12:24:34.245" v="1237" actId="47"/>
        <pc:sldMkLst>
          <pc:docMk/>
          <pc:sldMk cId="1690903399" sldId="323"/>
        </pc:sldMkLst>
        <pc:graphicFrameChg chg="mod">
          <ac:chgData name="Michael Wiley" userId="c47109c9-80e8-471c-a0d8-79372bbb0a30" providerId="ADAL" clId="{A86B2854-18DB-4FC4-94BC-D2D791C5C4CE}" dt="2021-08-20T11:58:05.635" v="445"/>
          <ac:graphicFrameMkLst>
            <pc:docMk/>
            <pc:sldMk cId="1690903399" sldId="323"/>
            <ac:graphicFrameMk id="3" creationId="{D0E0DB5C-7432-4211-B55B-5D6CE03F2884}"/>
          </ac:graphicFrameMkLst>
        </pc:graphicFrameChg>
      </pc:sldChg>
      <pc:sldChg chg="modSp mod ord modNotesTx">
        <pc:chgData name="Michael Wiley" userId="c47109c9-80e8-471c-a0d8-79372bbb0a30" providerId="ADAL" clId="{A86B2854-18DB-4FC4-94BC-D2D791C5C4CE}" dt="2021-08-20T12:25:27.884" v="1270" actId="20577"/>
        <pc:sldMkLst>
          <pc:docMk/>
          <pc:sldMk cId="2737677687" sldId="324"/>
        </pc:sldMkLst>
        <pc:graphicFrameChg chg="mod modGraphic">
          <ac:chgData name="Michael Wiley" userId="c47109c9-80e8-471c-a0d8-79372bbb0a30" providerId="ADAL" clId="{A86B2854-18DB-4FC4-94BC-D2D791C5C4CE}" dt="2021-08-20T12:21:34.971" v="1202" actId="20577"/>
          <ac:graphicFrameMkLst>
            <pc:docMk/>
            <pc:sldMk cId="2737677687" sldId="324"/>
            <ac:graphicFrameMk id="3" creationId="{D0E0DB5C-7432-4211-B55B-5D6CE03F2884}"/>
          </ac:graphicFrameMkLst>
        </pc:graphicFrameChg>
      </pc:sldChg>
      <pc:sldChg chg="modSp mod">
        <pc:chgData name="Michael Wiley" userId="c47109c9-80e8-471c-a0d8-79372bbb0a30" providerId="ADAL" clId="{A86B2854-18DB-4FC4-94BC-D2D791C5C4CE}" dt="2021-08-19T18:59:47.611" v="13" actId="1076"/>
        <pc:sldMkLst>
          <pc:docMk/>
          <pc:sldMk cId="1882440221" sldId="325"/>
        </pc:sldMkLst>
        <pc:graphicFrameChg chg="mod modGraphic">
          <ac:chgData name="Michael Wiley" userId="c47109c9-80e8-471c-a0d8-79372bbb0a30" providerId="ADAL" clId="{A86B2854-18DB-4FC4-94BC-D2D791C5C4CE}" dt="2021-08-19T18:57:56.399" v="8" actId="2162"/>
          <ac:graphicFrameMkLst>
            <pc:docMk/>
            <pc:sldMk cId="1882440221" sldId="325"/>
            <ac:graphicFrameMk id="2" creationId="{00DFD454-F652-4BA4-B0DA-571743499239}"/>
          </ac:graphicFrameMkLst>
        </pc:graphicFrameChg>
        <pc:picChg chg="mod">
          <ac:chgData name="Michael Wiley" userId="c47109c9-80e8-471c-a0d8-79372bbb0a30" providerId="ADAL" clId="{A86B2854-18DB-4FC4-94BC-D2D791C5C4CE}" dt="2021-08-19T18:59:47.611" v="13" actId="1076"/>
          <ac:picMkLst>
            <pc:docMk/>
            <pc:sldMk cId="1882440221" sldId="325"/>
            <ac:picMk id="19" creationId="{4F19D4D7-F0AF-4F4A-BAFE-FBB18E1CBCC3}"/>
          </ac:picMkLst>
        </pc:picChg>
        <pc:picChg chg="mod">
          <ac:chgData name="Michael Wiley" userId="c47109c9-80e8-471c-a0d8-79372bbb0a30" providerId="ADAL" clId="{A86B2854-18DB-4FC4-94BC-D2D791C5C4CE}" dt="2021-08-19T18:59:42.936" v="12" actId="1076"/>
          <ac:picMkLst>
            <pc:docMk/>
            <pc:sldMk cId="1882440221" sldId="325"/>
            <ac:picMk id="23" creationId="{C2034D83-FEF0-4B22-967D-3A87682CF13F}"/>
          </ac:picMkLst>
        </pc:picChg>
        <pc:picChg chg="mod">
          <ac:chgData name="Michael Wiley" userId="c47109c9-80e8-471c-a0d8-79372bbb0a30" providerId="ADAL" clId="{A86B2854-18DB-4FC4-94BC-D2D791C5C4CE}" dt="2021-08-19T18:59:36.014" v="11" actId="1076"/>
          <ac:picMkLst>
            <pc:docMk/>
            <pc:sldMk cId="1882440221" sldId="325"/>
            <ac:picMk id="25" creationId="{A4E0E679-BEF4-4D65-8041-C857EDFF6962}"/>
          </ac:picMkLst>
        </pc:picChg>
      </pc:sldChg>
      <pc:sldChg chg="mod modShow">
        <pc:chgData name="Michael Wiley" userId="c47109c9-80e8-471c-a0d8-79372bbb0a30" providerId="ADAL" clId="{A86B2854-18DB-4FC4-94BC-D2D791C5C4CE}" dt="2021-09-02T15:42:45.237" v="8803" actId="729"/>
        <pc:sldMkLst>
          <pc:docMk/>
          <pc:sldMk cId="327274818" sldId="327"/>
        </pc:sldMkLst>
      </pc:sldChg>
      <pc:sldChg chg="add del">
        <pc:chgData name="Michael Wiley" userId="c47109c9-80e8-471c-a0d8-79372bbb0a30" providerId="ADAL" clId="{A86B2854-18DB-4FC4-94BC-D2D791C5C4CE}" dt="2021-09-01T19:02:39.023" v="4744" actId="47"/>
        <pc:sldMkLst>
          <pc:docMk/>
          <pc:sldMk cId="0" sldId="375"/>
        </pc:sldMkLst>
      </pc:sldChg>
      <pc:sldChg chg="addSp modSp del mod modAnim">
        <pc:chgData name="Michael Wiley" userId="c47109c9-80e8-471c-a0d8-79372bbb0a30" providerId="ADAL" clId="{A86B2854-18DB-4FC4-94BC-D2D791C5C4CE}" dt="2021-09-01T19:02:41.563" v="4745" actId="47"/>
        <pc:sldMkLst>
          <pc:docMk/>
          <pc:sldMk cId="0" sldId="380"/>
        </pc:sldMkLst>
        <pc:spChg chg="mod">
          <ac:chgData name="Michael Wiley" userId="c47109c9-80e8-471c-a0d8-79372bbb0a30" providerId="ADAL" clId="{A86B2854-18DB-4FC4-94BC-D2D791C5C4CE}" dt="2021-09-01T18:42:14.876" v="4523" actId="1076"/>
          <ac:spMkLst>
            <pc:docMk/>
            <pc:sldMk cId="0" sldId="380"/>
            <ac:spMk id="4" creationId="{00000000-0000-0000-0000-000000000000}"/>
          </ac:spMkLst>
        </pc:spChg>
        <pc:spChg chg="mod">
          <ac:chgData name="Michael Wiley" userId="c47109c9-80e8-471c-a0d8-79372bbb0a30" providerId="ADAL" clId="{A86B2854-18DB-4FC4-94BC-D2D791C5C4CE}" dt="2021-09-01T18:42:14.876" v="4523" actId="1076"/>
          <ac:spMkLst>
            <pc:docMk/>
            <pc:sldMk cId="0" sldId="380"/>
            <ac:spMk id="7" creationId="{00000000-0000-0000-0000-000000000000}"/>
          </ac:spMkLst>
        </pc:spChg>
        <pc:spChg chg="mod">
          <ac:chgData name="Michael Wiley" userId="c47109c9-80e8-471c-a0d8-79372bbb0a30" providerId="ADAL" clId="{A86B2854-18DB-4FC4-94BC-D2D791C5C4CE}" dt="2021-09-01T18:44:38.781" v="4588" actId="1076"/>
          <ac:spMkLst>
            <pc:docMk/>
            <pc:sldMk cId="0" sldId="380"/>
            <ac:spMk id="8" creationId="{00000000-0000-0000-0000-000000000000}"/>
          </ac:spMkLst>
        </pc:spChg>
        <pc:spChg chg="mod">
          <ac:chgData name="Michael Wiley" userId="c47109c9-80e8-471c-a0d8-79372bbb0a30" providerId="ADAL" clId="{A86B2854-18DB-4FC4-94BC-D2D791C5C4CE}" dt="2021-09-01T18:46:15.843" v="4625" actId="20577"/>
          <ac:spMkLst>
            <pc:docMk/>
            <pc:sldMk cId="0" sldId="380"/>
            <ac:spMk id="9" creationId="{00000000-0000-0000-0000-000000000000}"/>
          </ac:spMkLst>
        </pc:spChg>
        <pc:spChg chg="mod">
          <ac:chgData name="Michael Wiley" userId="c47109c9-80e8-471c-a0d8-79372bbb0a30" providerId="ADAL" clId="{A86B2854-18DB-4FC4-94BC-D2D791C5C4CE}" dt="2021-09-01T18:43:50.341" v="4577" actId="6549"/>
          <ac:spMkLst>
            <pc:docMk/>
            <pc:sldMk cId="0" sldId="380"/>
            <ac:spMk id="10" creationId="{00000000-0000-0000-0000-000000000000}"/>
          </ac:spMkLst>
        </pc:spChg>
        <pc:spChg chg="mod">
          <ac:chgData name="Michael Wiley" userId="c47109c9-80e8-471c-a0d8-79372bbb0a30" providerId="ADAL" clId="{A86B2854-18DB-4FC4-94BC-D2D791C5C4CE}" dt="2021-09-01T18:44:59.156" v="4593" actId="1076"/>
          <ac:spMkLst>
            <pc:docMk/>
            <pc:sldMk cId="0" sldId="380"/>
            <ac:spMk id="12" creationId="{00000000-0000-0000-0000-000000000000}"/>
          </ac:spMkLst>
        </pc:spChg>
        <pc:spChg chg="mod">
          <ac:chgData name="Michael Wiley" userId="c47109c9-80e8-471c-a0d8-79372bbb0a30" providerId="ADAL" clId="{A86B2854-18DB-4FC4-94BC-D2D791C5C4CE}" dt="2021-09-01T18:44:56.700" v="4592" actId="1076"/>
          <ac:spMkLst>
            <pc:docMk/>
            <pc:sldMk cId="0" sldId="380"/>
            <ac:spMk id="13" creationId="{00000000-0000-0000-0000-000000000000}"/>
          </ac:spMkLst>
        </pc:spChg>
        <pc:spChg chg="mod">
          <ac:chgData name="Michael Wiley" userId="c47109c9-80e8-471c-a0d8-79372bbb0a30" providerId="ADAL" clId="{A86B2854-18DB-4FC4-94BC-D2D791C5C4CE}" dt="2021-09-01T18:46:43.020" v="4626" actId="14100"/>
          <ac:spMkLst>
            <pc:docMk/>
            <pc:sldMk cId="0" sldId="380"/>
            <ac:spMk id="15" creationId="{00000000-0000-0000-0000-000000000000}"/>
          </ac:spMkLst>
        </pc:spChg>
        <pc:spChg chg="mod">
          <ac:chgData name="Michael Wiley" userId="c47109c9-80e8-471c-a0d8-79372bbb0a30" providerId="ADAL" clId="{A86B2854-18DB-4FC4-94BC-D2D791C5C4CE}" dt="2021-09-01T18:42:14.391" v="4522" actId="1076"/>
          <ac:spMkLst>
            <pc:docMk/>
            <pc:sldMk cId="0" sldId="380"/>
            <ac:spMk id="19" creationId="{00000000-0000-0000-0000-000000000000}"/>
          </ac:spMkLst>
        </pc:spChg>
        <pc:spChg chg="mod">
          <ac:chgData name="Michael Wiley" userId="c47109c9-80e8-471c-a0d8-79372bbb0a30" providerId="ADAL" clId="{A86B2854-18DB-4FC4-94BC-D2D791C5C4CE}" dt="2021-09-01T18:42:13.996" v="4521" actId="1076"/>
          <ac:spMkLst>
            <pc:docMk/>
            <pc:sldMk cId="0" sldId="380"/>
            <ac:spMk id="20" creationId="{00000000-0000-0000-0000-000000000000}"/>
          </ac:spMkLst>
        </pc:spChg>
        <pc:spChg chg="add mod">
          <ac:chgData name="Michael Wiley" userId="c47109c9-80e8-471c-a0d8-79372bbb0a30" providerId="ADAL" clId="{A86B2854-18DB-4FC4-94BC-D2D791C5C4CE}" dt="2021-09-01T18:45:36.580" v="4612" actId="6549"/>
          <ac:spMkLst>
            <pc:docMk/>
            <pc:sldMk cId="0" sldId="380"/>
            <ac:spMk id="21" creationId="{E89BFD7F-8D1D-4F04-AD23-9740173F75A8}"/>
          </ac:spMkLst>
        </pc:spChg>
      </pc:sldChg>
      <pc:sldChg chg="modSp del mod modNotesTx">
        <pc:chgData name="Michael Wiley" userId="c47109c9-80e8-471c-a0d8-79372bbb0a30" providerId="ADAL" clId="{A86B2854-18DB-4FC4-94BC-D2D791C5C4CE}" dt="2021-09-13T12:58:57.312" v="10095" actId="47"/>
        <pc:sldMkLst>
          <pc:docMk/>
          <pc:sldMk cId="2642144960" sldId="558"/>
        </pc:sldMkLst>
        <pc:spChg chg="mod">
          <ac:chgData name="Michael Wiley" userId="c47109c9-80e8-471c-a0d8-79372bbb0a30" providerId="ADAL" clId="{A86B2854-18DB-4FC4-94BC-D2D791C5C4CE}" dt="2021-09-13T12:33:57.336" v="9832" actId="207"/>
          <ac:spMkLst>
            <pc:docMk/>
            <pc:sldMk cId="2642144960" sldId="558"/>
            <ac:spMk id="4" creationId="{8E305106-E192-4EA8-9D85-A3F71E2BD859}"/>
          </ac:spMkLst>
        </pc:spChg>
        <pc:graphicFrameChg chg="mod modGraphic">
          <ac:chgData name="Michael Wiley" userId="c47109c9-80e8-471c-a0d8-79372bbb0a30" providerId="ADAL" clId="{A86B2854-18DB-4FC4-94BC-D2D791C5C4CE}" dt="2021-09-13T12:46:10.705" v="9892"/>
          <ac:graphicFrameMkLst>
            <pc:docMk/>
            <pc:sldMk cId="2642144960" sldId="558"/>
            <ac:graphicFrameMk id="23" creationId="{2B541AB7-0DAC-4E33-80F9-A49CA728D14C}"/>
          </ac:graphicFrameMkLst>
        </pc:graphicFrameChg>
      </pc:sldChg>
      <pc:sldChg chg="modSp mod">
        <pc:chgData name="Michael Wiley" userId="c47109c9-80e8-471c-a0d8-79372bbb0a30" providerId="ADAL" clId="{A86B2854-18DB-4FC4-94BC-D2D791C5C4CE}" dt="2021-09-02T12:37:38.159" v="5507" actId="20577"/>
        <pc:sldMkLst>
          <pc:docMk/>
          <pc:sldMk cId="719473185" sldId="1733"/>
        </pc:sldMkLst>
        <pc:graphicFrameChg chg="mod modGraphic">
          <ac:chgData name="Michael Wiley" userId="c47109c9-80e8-471c-a0d8-79372bbb0a30" providerId="ADAL" clId="{A86B2854-18DB-4FC4-94BC-D2D791C5C4CE}" dt="2021-09-02T12:37:38.159" v="5507" actId="20577"/>
          <ac:graphicFrameMkLst>
            <pc:docMk/>
            <pc:sldMk cId="719473185" sldId="1733"/>
            <ac:graphicFrameMk id="5" creationId="{00000000-0000-0000-0000-000000000000}"/>
          </ac:graphicFrameMkLst>
        </pc:graphicFrameChg>
      </pc:sldChg>
      <pc:sldChg chg="modSp del">
        <pc:chgData name="Michael Wiley" userId="c47109c9-80e8-471c-a0d8-79372bbb0a30" providerId="ADAL" clId="{A86B2854-18DB-4FC4-94BC-D2D791C5C4CE}" dt="2021-08-20T12:23:00.248" v="1208" actId="47"/>
        <pc:sldMkLst>
          <pc:docMk/>
          <pc:sldMk cId="426209498" sldId="1734"/>
        </pc:sldMkLst>
        <pc:graphicFrameChg chg="mod">
          <ac:chgData name="Michael Wiley" userId="c47109c9-80e8-471c-a0d8-79372bbb0a30" providerId="ADAL" clId="{A86B2854-18DB-4FC4-94BC-D2D791C5C4CE}" dt="2021-08-20T12:01:02.025" v="446"/>
          <ac:graphicFrameMkLst>
            <pc:docMk/>
            <pc:sldMk cId="426209498" sldId="1734"/>
            <ac:graphicFrameMk id="5" creationId="{00000000-0000-0000-0000-000000000000}"/>
          </ac:graphicFrameMkLst>
        </pc:graphicFrameChg>
      </pc:sldChg>
      <pc:sldChg chg="modSp add mod modShow">
        <pc:chgData name="Michael Wiley" userId="c47109c9-80e8-471c-a0d8-79372bbb0a30" providerId="ADAL" clId="{A86B2854-18DB-4FC4-94BC-D2D791C5C4CE}" dt="2021-08-20T12:29:55.806" v="1293" actId="20577"/>
        <pc:sldMkLst>
          <pc:docMk/>
          <pc:sldMk cId="913656372" sldId="1734"/>
        </pc:sldMkLst>
        <pc:spChg chg="mod">
          <ac:chgData name="Michael Wiley" userId="c47109c9-80e8-471c-a0d8-79372bbb0a30" providerId="ADAL" clId="{A86B2854-18DB-4FC4-94BC-D2D791C5C4CE}" dt="2021-08-20T12:29:55.806" v="1293" actId="20577"/>
          <ac:spMkLst>
            <pc:docMk/>
            <pc:sldMk cId="913656372" sldId="1734"/>
            <ac:spMk id="2" creationId="{00000000-0000-0000-0000-000000000000}"/>
          </ac:spMkLst>
        </pc:spChg>
      </pc:sldChg>
      <pc:sldChg chg="modNotesTx">
        <pc:chgData name="Michael Wiley" userId="c47109c9-80e8-471c-a0d8-79372bbb0a30" providerId="ADAL" clId="{A86B2854-18DB-4FC4-94BC-D2D791C5C4CE}" dt="2021-08-20T12:57:15.279" v="1534" actId="6549"/>
        <pc:sldMkLst>
          <pc:docMk/>
          <pc:sldMk cId="4005034270" sldId="1735"/>
        </pc:sldMkLst>
      </pc:sldChg>
      <pc:sldChg chg="modSp add mod delCm modNotesTx">
        <pc:chgData name="Michael Wiley" userId="c47109c9-80e8-471c-a0d8-79372bbb0a30" providerId="ADAL" clId="{A86B2854-18DB-4FC4-94BC-D2D791C5C4CE}" dt="2021-08-20T15:03:48.196" v="2954" actId="6549"/>
        <pc:sldMkLst>
          <pc:docMk/>
          <pc:sldMk cId="928802381" sldId="1736"/>
        </pc:sldMkLst>
        <pc:spChg chg="mod">
          <ac:chgData name="Michael Wiley" userId="c47109c9-80e8-471c-a0d8-79372bbb0a30" providerId="ADAL" clId="{A86B2854-18DB-4FC4-94BC-D2D791C5C4CE}" dt="2021-08-20T14:52:17.534" v="2851" actId="20577"/>
          <ac:spMkLst>
            <pc:docMk/>
            <pc:sldMk cId="928802381" sldId="1736"/>
            <ac:spMk id="2" creationId="{00000000-0000-0000-0000-000000000000}"/>
          </ac:spMkLst>
        </pc:spChg>
        <pc:graphicFrameChg chg="mod modGraphic">
          <ac:chgData name="Michael Wiley" userId="c47109c9-80e8-471c-a0d8-79372bbb0a30" providerId="ADAL" clId="{A86B2854-18DB-4FC4-94BC-D2D791C5C4CE}" dt="2021-08-20T15:03:08.374" v="2950" actId="20577"/>
          <ac:graphicFrameMkLst>
            <pc:docMk/>
            <pc:sldMk cId="928802381" sldId="1736"/>
            <ac:graphicFrameMk id="5" creationId="{00000000-0000-0000-0000-000000000000}"/>
          </ac:graphicFrameMkLst>
        </pc:graphicFrameChg>
      </pc:sldChg>
      <pc:sldChg chg="add del">
        <pc:chgData name="Michael Wiley" userId="c47109c9-80e8-471c-a0d8-79372bbb0a30" providerId="ADAL" clId="{A86B2854-18DB-4FC4-94BC-D2D791C5C4CE}" dt="2021-08-20T12:52:58.068" v="1442" actId="47"/>
        <pc:sldMkLst>
          <pc:docMk/>
          <pc:sldMk cId="964380744" sldId="1736"/>
        </pc:sldMkLst>
      </pc:sldChg>
      <pc:sldChg chg="add del">
        <pc:chgData name="Michael Wiley" userId="c47109c9-80e8-471c-a0d8-79372bbb0a30" providerId="ADAL" clId="{A86B2854-18DB-4FC4-94BC-D2D791C5C4CE}" dt="2021-08-20T16:29:55.460" v="4138" actId="47"/>
        <pc:sldMkLst>
          <pc:docMk/>
          <pc:sldMk cId="2857500039" sldId="1737"/>
        </pc:sldMkLst>
      </pc:sldChg>
      <pc:sldChg chg="add del modNotesTx">
        <pc:chgData name="Michael Wiley" userId="c47109c9-80e8-471c-a0d8-79372bbb0a30" providerId="ADAL" clId="{A86B2854-18DB-4FC4-94BC-D2D791C5C4CE}" dt="2021-08-20T16:28:20.144" v="4116" actId="47"/>
        <pc:sldMkLst>
          <pc:docMk/>
          <pc:sldMk cId="1219725895" sldId="1738"/>
        </pc:sldMkLst>
      </pc:sldChg>
      <pc:sldChg chg="modSp add del mod modAnim">
        <pc:chgData name="Michael Wiley" userId="c47109c9-80e8-471c-a0d8-79372bbb0a30" providerId="ADAL" clId="{A86B2854-18DB-4FC4-94BC-D2D791C5C4CE}" dt="2021-09-01T17:19:22.023" v="4168" actId="47"/>
        <pc:sldMkLst>
          <pc:docMk/>
          <pc:sldMk cId="3426342632" sldId="1738"/>
        </pc:sldMkLst>
        <pc:spChg chg="mod">
          <ac:chgData name="Michael Wiley" userId="c47109c9-80e8-471c-a0d8-79372bbb0a30" providerId="ADAL" clId="{A86B2854-18DB-4FC4-94BC-D2D791C5C4CE}" dt="2021-09-01T17:14:37.310" v="4149" actId="1076"/>
          <ac:spMkLst>
            <pc:docMk/>
            <pc:sldMk cId="3426342632" sldId="1738"/>
            <ac:spMk id="7" creationId="{00000000-0000-0000-0000-000000000000}"/>
          </ac:spMkLst>
        </pc:spChg>
        <pc:spChg chg="mod">
          <ac:chgData name="Michael Wiley" userId="c47109c9-80e8-471c-a0d8-79372bbb0a30" providerId="ADAL" clId="{A86B2854-18DB-4FC4-94BC-D2D791C5C4CE}" dt="2021-09-01T17:14:54.964" v="4152" actId="1076"/>
          <ac:spMkLst>
            <pc:docMk/>
            <pc:sldMk cId="3426342632" sldId="1738"/>
            <ac:spMk id="10" creationId="{00000000-0000-0000-0000-000000000000}"/>
          </ac:spMkLst>
        </pc:spChg>
        <pc:spChg chg="mod">
          <ac:chgData name="Michael Wiley" userId="c47109c9-80e8-471c-a0d8-79372bbb0a30" providerId="ADAL" clId="{A86B2854-18DB-4FC4-94BC-D2D791C5C4CE}" dt="2021-09-01T17:14:43.612" v="4150" actId="1076"/>
          <ac:spMkLst>
            <pc:docMk/>
            <pc:sldMk cId="3426342632" sldId="1738"/>
            <ac:spMk id="11" creationId="{00000000-0000-0000-0000-000000000000}"/>
          </ac:spMkLst>
        </pc:spChg>
        <pc:spChg chg="mod">
          <ac:chgData name="Michael Wiley" userId="c47109c9-80e8-471c-a0d8-79372bbb0a30" providerId="ADAL" clId="{A86B2854-18DB-4FC4-94BC-D2D791C5C4CE}" dt="2021-09-01T17:15:17.944" v="4155" actId="1076"/>
          <ac:spMkLst>
            <pc:docMk/>
            <pc:sldMk cId="3426342632" sldId="1738"/>
            <ac:spMk id="12" creationId="{00000000-0000-0000-0000-000000000000}"/>
          </ac:spMkLst>
        </pc:spChg>
        <pc:spChg chg="mod">
          <ac:chgData name="Michael Wiley" userId="c47109c9-80e8-471c-a0d8-79372bbb0a30" providerId="ADAL" clId="{A86B2854-18DB-4FC4-94BC-D2D791C5C4CE}" dt="2021-09-01T17:15:31.111" v="4157" actId="1076"/>
          <ac:spMkLst>
            <pc:docMk/>
            <pc:sldMk cId="3426342632" sldId="1738"/>
            <ac:spMk id="13" creationId="{00000000-0000-0000-0000-000000000000}"/>
          </ac:spMkLst>
        </pc:spChg>
        <pc:spChg chg="mod">
          <ac:chgData name="Michael Wiley" userId="c47109c9-80e8-471c-a0d8-79372bbb0a30" providerId="ADAL" clId="{A86B2854-18DB-4FC4-94BC-D2D791C5C4CE}" dt="2021-09-01T17:15:08.011" v="4153" actId="1076"/>
          <ac:spMkLst>
            <pc:docMk/>
            <pc:sldMk cId="3426342632" sldId="1738"/>
            <ac:spMk id="14" creationId="{00000000-0000-0000-0000-000000000000}"/>
          </ac:spMkLst>
        </pc:spChg>
        <pc:spChg chg="mod">
          <ac:chgData name="Michael Wiley" userId="c47109c9-80e8-471c-a0d8-79372bbb0a30" providerId="ADAL" clId="{A86B2854-18DB-4FC4-94BC-D2D791C5C4CE}" dt="2021-09-01T17:15:21.645" v="4156" actId="14100"/>
          <ac:spMkLst>
            <pc:docMk/>
            <pc:sldMk cId="3426342632" sldId="1738"/>
            <ac:spMk id="15" creationId="{00000000-0000-0000-0000-000000000000}"/>
          </ac:spMkLst>
        </pc:spChg>
        <pc:spChg chg="mod">
          <ac:chgData name="Michael Wiley" userId="c47109c9-80e8-471c-a0d8-79372bbb0a30" providerId="ADAL" clId="{A86B2854-18DB-4FC4-94BC-D2D791C5C4CE}" dt="2021-09-01T17:15:56.449" v="4163" actId="1076"/>
          <ac:spMkLst>
            <pc:docMk/>
            <pc:sldMk cId="3426342632" sldId="1738"/>
            <ac:spMk id="16" creationId="{00000000-0000-0000-0000-000000000000}"/>
          </ac:spMkLst>
        </pc:spChg>
        <pc:spChg chg="mod">
          <ac:chgData name="Michael Wiley" userId="c47109c9-80e8-471c-a0d8-79372bbb0a30" providerId="ADAL" clId="{A86B2854-18DB-4FC4-94BC-D2D791C5C4CE}" dt="2021-09-01T17:15:40.733" v="4159" actId="1076"/>
          <ac:spMkLst>
            <pc:docMk/>
            <pc:sldMk cId="3426342632" sldId="1738"/>
            <ac:spMk id="17" creationId="{00000000-0000-0000-0000-000000000000}"/>
          </ac:spMkLst>
        </pc:spChg>
        <pc:spChg chg="mod">
          <ac:chgData name="Michael Wiley" userId="c47109c9-80e8-471c-a0d8-79372bbb0a30" providerId="ADAL" clId="{A86B2854-18DB-4FC4-94BC-D2D791C5C4CE}" dt="2021-09-01T17:15:52.735" v="4162" actId="14100"/>
          <ac:spMkLst>
            <pc:docMk/>
            <pc:sldMk cId="3426342632" sldId="1738"/>
            <ac:spMk id="18" creationId="{00000000-0000-0000-0000-000000000000}"/>
          </ac:spMkLst>
        </pc:spChg>
        <pc:spChg chg="mod">
          <ac:chgData name="Michael Wiley" userId="c47109c9-80e8-471c-a0d8-79372bbb0a30" providerId="ADAL" clId="{A86B2854-18DB-4FC4-94BC-D2D791C5C4CE}" dt="2021-09-01T17:16:21.440" v="4165" actId="14100"/>
          <ac:spMkLst>
            <pc:docMk/>
            <pc:sldMk cId="3426342632" sldId="1738"/>
            <ac:spMk id="19" creationId="{00000000-0000-0000-0000-000000000000}"/>
          </ac:spMkLst>
        </pc:spChg>
      </pc:sldChg>
      <pc:sldChg chg="addSp delSp modSp add mod addAnim delAnim modAnim modShow addCm modCm">
        <pc:chgData name="Michael Wiley" userId="c47109c9-80e8-471c-a0d8-79372bbb0a30" providerId="ADAL" clId="{A86B2854-18DB-4FC4-94BC-D2D791C5C4CE}" dt="2021-09-01T19:02:19.038" v="4742"/>
        <pc:sldMkLst>
          <pc:docMk/>
          <pc:sldMk cId="4005748821" sldId="1738"/>
        </pc:sldMkLst>
        <pc:spChg chg="add del">
          <ac:chgData name="Michael Wiley" userId="c47109c9-80e8-471c-a0d8-79372bbb0a30" providerId="ADAL" clId="{A86B2854-18DB-4FC4-94BC-D2D791C5C4CE}" dt="2021-09-01T18:13:44.692" v="4385" actId="11529"/>
          <ac:spMkLst>
            <pc:docMk/>
            <pc:sldMk cId="4005748821" sldId="1738"/>
            <ac:spMk id="3" creationId="{10774529-1D86-45FD-8BC9-D977A35DD7FE}"/>
          </ac:spMkLst>
        </pc:spChg>
        <pc:spChg chg="add del">
          <ac:chgData name="Michael Wiley" userId="c47109c9-80e8-471c-a0d8-79372bbb0a30" providerId="ADAL" clId="{A86B2854-18DB-4FC4-94BC-D2D791C5C4CE}" dt="2021-09-01T18:14:06.575" v="4387" actId="11529"/>
          <ac:spMkLst>
            <pc:docMk/>
            <pc:sldMk cId="4005748821" sldId="1738"/>
            <ac:spMk id="4" creationId="{FBDA0EEE-F514-4E8A-B1DA-48CF22000A03}"/>
          </ac:spMkLst>
        </pc:spChg>
        <pc:spChg chg="add del">
          <ac:chgData name="Michael Wiley" userId="c47109c9-80e8-471c-a0d8-79372bbb0a30" providerId="ADAL" clId="{A86B2854-18DB-4FC4-94BC-D2D791C5C4CE}" dt="2021-09-01T18:14:24.145" v="4389" actId="11529"/>
          <ac:spMkLst>
            <pc:docMk/>
            <pc:sldMk cId="4005748821" sldId="1738"/>
            <ac:spMk id="5" creationId="{D05D928F-1529-4554-97D1-453A01CC0A18}"/>
          </ac:spMkLst>
        </pc:spChg>
        <pc:spChg chg="add del">
          <ac:chgData name="Michael Wiley" userId="c47109c9-80e8-471c-a0d8-79372bbb0a30" providerId="ADAL" clId="{A86B2854-18DB-4FC4-94BC-D2D791C5C4CE}" dt="2021-09-01T18:14:58.420" v="4391" actId="478"/>
          <ac:spMkLst>
            <pc:docMk/>
            <pc:sldMk cId="4005748821" sldId="1738"/>
            <ac:spMk id="6" creationId="{38AED069-59E1-4A62-8801-02B1698260F2}"/>
          </ac:spMkLst>
        </pc:spChg>
        <pc:spChg chg="mod">
          <ac:chgData name="Michael Wiley" userId="c47109c9-80e8-471c-a0d8-79372bbb0a30" providerId="ADAL" clId="{A86B2854-18DB-4FC4-94BC-D2D791C5C4CE}" dt="2021-09-01T19:00:51.218" v="4734" actId="1076"/>
          <ac:spMkLst>
            <pc:docMk/>
            <pc:sldMk cId="4005748821" sldId="1738"/>
            <ac:spMk id="7" creationId="{00000000-0000-0000-0000-000000000000}"/>
          </ac:spMkLst>
        </pc:spChg>
        <pc:spChg chg="mod">
          <ac:chgData name="Michael Wiley" userId="c47109c9-80e8-471c-a0d8-79372bbb0a30" providerId="ADAL" clId="{A86B2854-18DB-4FC4-94BC-D2D791C5C4CE}" dt="2021-09-01T19:01:01.198" v="4735" actId="1076"/>
          <ac:spMkLst>
            <pc:docMk/>
            <pc:sldMk cId="4005748821" sldId="1738"/>
            <ac:spMk id="8" creationId="{00000000-0000-0000-0000-000000000000}"/>
          </ac:spMkLst>
        </pc:spChg>
        <pc:spChg chg="mod">
          <ac:chgData name="Michael Wiley" userId="c47109c9-80e8-471c-a0d8-79372bbb0a30" providerId="ADAL" clId="{A86B2854-18DB-4FC4-94BC-D2D791C5C4CE}" dt="2021-09-01T19:00:40.298" v="4723" actId="1076"/>
          <ac:spMkLst>
            <pc:docMk/>
            <pc:sldMk cId="4005748821" sldId="1738"/>
            <ac:spMk id="9" creationId="{00000000-0000-0000-0000-000000000000}"/>
          </ac:spMkLst>
        </pc:spChg>
        <pc:spChg chg="mod">
          <ac:chgData name="Michael Wiley" userId="c47109c9-80e8-471c-a0d8-79372bbb0a30" providerId="ADAL" clId="{A86B2854-18DB-4FC4-94BC-D2D791C5C4CE}" dt="2021-09-01T19:00:49.802" v="4731" actId="1076"/>
          <ac:spMkLst>
            <pc:docMk/>
            <pc:sldMk cId="4005748821" sldId="1738"/>
            <ac:spMk id="10" creationId="{00000000-0000-0000-0000-000000000000}"/>
          </ac:spMkLst>
        </pc:spChg>
        <pc:spChg chg="mod">
          <ac:chgData name="Michael Wiley" userId="c47109c9-80e8-471c-a0d8-79372bbb0a30" providerId="ADAL" clId="{A86B2854-18DB-4FC4-94BC-D2D791C5C4CE}" dt="2021-09-01T19:00:50.738" v="4733" actId="1076"/>
          <ac:spMkLst>
            <pc:docMk/>
            <pc:sldMk cId="4005748821" sldId="1738"/>
            <ac:spMk id="11" creationId="{00000000-0000-0000-0000-000000000000}"/>
          </ac:spMkLst>
        </pc:spChg>
        <pc:spChg chg="mod">
          <ac:chgData name="Michael Wiley" userId="c47109c9-80e8-471c-a0d8-79372bbb0a30" providerId="ADAL" clId="{A86B2854-18DB-4FC4-94BC-D2D791C5C4CE}" dt="2021-09-01T19:00:40.096" v="4722" actId="1076"/>
          <ac:spMkLst>
            <pc:docMk/>
            <pc:sldMk cId="4005748821" sldId="1738"/>
            <ac:spMk id="12" creationId="{00000000-0000-0000-0000-000000000000}"/>
          </ac:spMkLst>
        </pc:spChg>
        <pc:spChg chg="add del mod">
          <ac:chgData name="Michael Wiley" userId="c47109c9-80e8-471c-a0d8-79372bbb0a30" providerId="ADAL" clId="{A86B2854-18DB-4FC4-94BC-D2D791C5C4CE}" dt="2021-09-01T19:01:06.048" v="4737" actId="21"/>
          <ac:spMkLst>
            <pc:docMk/>
            <pc:sldMk cId="4005748821" sldId="1738"/>
            <ac:spMk id="13" creationId="{00000000-0000-0000-0000-000000000000}"/>
          </ac:spMkLst>
        </pc:spChg>
        <pc:spChg chg="mod">
          <ac:chgData name="Michael Wiley" userId="c47109c9-80e8-471c-a0d8-79372bbb0a30" providerId="ADAL" clId="{A86B2854-18DB-4FC4-94BC-D2D791C5C4CE}" dt="2021-09-01T19:00:49.345" v="4730" actId="14100"/>
          <ac:spMkLst>
            <pc:docMk/>
            <pc:sldMk cId="4005748821" sldId="1738"/>
            <ac:spMk id="14" creationId="{00000000-0000-0000-0000-000000000000}"/>
          </ac:spMkLst>
        </pc:spChg>
        <pc:spChg chg="mod">
          <ac:chgData name="Michael Wiley" userId="c47109c9-80e8-471c-a0d8-79372bbb0a30" providerId="ADAL" clId="{A86B2854-18DB-4FC4-94BC-D2D791C5C4CE}" dt="2021-09-01T19:00:40.490" v="4724" actId="1076"/>
          <ac:spMkLst>
            <pc:docMk/>
            <pc:sldMk cId="4005748821" sldId="1738"/>
            <ac:spMk id="15" creationId="{00000000-0000-0000-0000-000000000000}"/>
          </ac:spMkLst>
        </pc:spChg>
        <pc:spChg chg="del mod">
          <ac:chgData name="Michael Wiley" userId="c47109c9-80e8-471c-a0d8-79372bbb0a30" providerId="ADAL" clId="{A86B2854-18DB-4FC4-94BC-D2D791C5C4CE}" dt="2021-09-01T19:01:11.628" v="4739" actId="478"/>
          <ac:spMkLst>
            <pc:docMk/>
            <pc:sldMk cId="4005748821" sldId="1738"/>
            <ac:spMk id="16" creationId="{00000000-0000-0000-0000-000000000000}"/>
          </ac:spMkLst>
        </pc:spChg>
        <pc:spChg chg="mod">
          <ac:chgData name="Michael Wiley" userId="c47109c9-80e8-471c-a0d8-79372bbb0a30" providerId="ADAL" clId="{A86B2854-18DB-4FC4-94BC-D2D791C5C4CE}" dt="2021-09-01T19:00:41.170" v="4727" actId="14100"/>
          <ac:spMkLst>
            <pc:docMk/>
            <pc:sldMk cId="4005748821" sldId="1738"/>
            <ac:spMk id="17" creationId="{00000000-0000-0000-0000-000000000000}"/>
          </ac:spMkLst>
        </pc:spChg>
        <pc:spChg chg="mod">
          <ac:chgData name="Michael Wiley" userId="c47109c9-80e8-471c-a0d8-79372bbb0a30" providerId="ADAL" clId="{A86B2854-18DB-4FC4-94BC-D2D791C5C4CE}" dt="2021-09-01T18:56:28.619" v="4688" actId="20577"/>
          <ac:spMkLst>
            <pc:docMk/>
            <pc:sldMk cId="4005748821" sldId="1738"/>
            <ac:spMk id="18" creationId="{00000000-0000-0000-0000-000000000000}"/>
          </ac:spMkLst>
        </pc:spChg>
        <pc:spChg chg="mod">
          <ac:chgData name="Michael Wiley" userId="c47109c9-80e8-471c-a0d8-79372bbb0a30" providerId="ADAL" clId="{A86B2854-18DB-4FC4-94BC-D2D791C5C4CE}" dt="2021-09-01T19:00:42.370" v="4729" actId="1076"/>
          <ac:spMkLst>
            <pc:docMk/>
            <pc:sldMk cId="4005748821" sldId="1738"/>
            <ac:spMk id="19" creationId="{00000000-0000-0000-0000-000000000000}"/>
          </ac:spMkLst>
        </pc:spChg>
        <pc:spChg chg="add del mod">
          <ac:chgData name="Michael Wiley" userId="c47109c9-80e8-471c-a0d8-79372bbb0a30" providerId="ADAL" clId="{A86B2854-18DB-4FC4-94BC-D2D791C5C4CE}" dt="2021-09-01T18:21:41.456" v="4424"/>
          <ac:spMkLst>
            <pc:docMk/>
            <pc:sldMk cId="4005748821" sldId="1738"/>
            <ac:spMk id="20" creationId="{941EEF38-E880-4669-B320-F500931EEEAA}"/>
          </ac:spMkLst>
        </pc:spChg>
        <pc:spChg chg="add del mod">
          <ac:chgData name="Michael Wiley" userId="c47109c9-80e8-471c-a0d8-79372bbb0a30" providerId="ADAL" clId="{A86B2854-18DB-4FC4-94BC-D2D791C5C4CE}" dt="2021-09-01T18:55:17.289" v="4673"/>
          <ac:spMkLst>
            <pc:docMk/>
            <pc:sldMk cId="4005748821" sldId="1738"/>
            <ac:spMk id="21" creationId="{885D5A77-3184-459F-A147-8322D9064CF8}"/>
          </ac:spMkLst>
        </pc:spChg>
        <pc:spChg chg="add mod">
          <ac:chgData name="Michael Wiley" userId="c47109c9-80e8-471c-a0d8-79372bbb0a30" providerId="ADAL" clId="{A86B2854-18DB-4FC4-94BC-D2D791C5C4CE}" dt="2021-09-01T19:01:20.258" v="4740" actId="1076"/>
          <ac:spMkLst>
            <pc:docMk/>
            <pc:sldMk cId="4005748821" sldId="1738"/>
            <ac:spMk id="22" creationId="{A4B6255E-F2D0-4ACA-9BB9-1EA380A0FD1A}"/>
          </ac:spMkLst>
        </pc:spChg>
      </pc:sldChg>
      <pc:sldChg chg="addSp delSp modSp add mod delAnim modAnim modShow addCm">
        <pc:chgData name="Michael Wiley" userId="c47109c9-80e8-471c-a0d8-79372bbb0a30" providerId="ADAL" clId="{A86B2854-18DB-4FC4-94BC-D2D791C5C4CE}" dt="2021-09-13T12:30:58.204" v="9780" actId="729"/>
        <pc:sldMkLst>
          <pc:docMk/>
          <pc:sldMk cId="3560094584" sldId="1739"/>
        </pc:sldMkLst>
        <pc:spChg chg="mod">
          <ac:chgData name="Michael Wiley" userId="c47109c9-80e8-471c-a0d8-79372bbb0a30" providerId="ADAL" clId="{A86B2854-18DB-4FC4-94BC-D2D791C5C4CE}" dt="2021-09-02T12:49:35.230" v="5576" actId="1076"/>
          <ac:spMkLst>
            <pc:docMk/>
            <pc:sldMk cId="3560094584" sldId="1739"/>
            <ac:spMk id="2" creationId="{00000000-0000-0000-0000-000000000000}"/>
          </ac:spMkLst>
        </pc:spChg>
        <pc:spChg chg="add mod">
          <ac:chgData name="Michael Wiley" userId="c47109c9-80e8-471c-a0d8-79372bbb0a30" providerId="ADAL" clId="{A86B2854-18DB-4FC4-94BC-D2D791C5C4CE}" dt="2021-09-02T12:47:37.693" v="5558" actId="1076"/>
          <ac:spMkLst>
            <pc:docMk/>
            <pc:sldMk cId="3560094584" sldId="1739"/>
            <ac:spMk id="3" creationId="{5D7DFDC2-9070-4DB0-AF0B-A6F3BCFD7896}"/>
          </ac:spMkLst>
        </pc:spChg>
        <pc:spChg chg="add mod">
          <ac:chgData name="Michael Wiley" userId="c47109c9-80e8-471c-a0d8-79372bbb0a30" providerId="ADAL" clId="{A86B2854-18DB-4FC4-94BC-D2D791C5C4CE}" dt="2021-09-02T12:49:00.800" v="5571" actId="1076"/>
          <ac:spMkLst>
            <pc:docMk/>
            <pc:sldMk cId="3560094584" sldId="1739"/>
            <ac:spMk id="4" creationId="{ACF473D4-13E8-498E-9E36-3A53D24E0E49}"/>
          </ac:spMkLst>
        </pc:spChg>
        <pc:spChg chg="add mod">
          <ac:chgData name="Michael Wiley" userId="c47109c9-80e8-471c-a0d8-79372bbb0a30" providerId="ADAL" clId="{A86B2854-18DB-4FC4-94BC-D2D791C5C4CE}" dt="2021-09-02T12:49:03.057" v="5572" actId="1076"/>
          <ac:spMkLst>
            <pc:docMk/>
            <pc:sldMk cId="3560094584" sldId="1739"/>
            <ac:spMk id="5" creationId="{C5B82EAC-A7C5-4EF4-B27E-3920FA375F5C}"/>
          </ac:spMkLst>
        </pc:spChg>
        <pc:spChg chg="add mod">
          <ac:chgData name="Michael Wiley" userId="c47109c9-80e8-471c-a0d8-79372bbb0a30" providerId="ADAL" clId="{A86B2854-18DB-4FC4-94BC-D2D791C5C4CE}" dt="2021-09-02T12:49:23.867" v="5574" actId="1076"/>
          <ac:spMkLst>
            <pc:docMk/>
            <pc:sldMk cId="3560094584" sldId="1739"/>
            <ac:spMk id="6" creationId="{B653218E-2448-4F26-BB6B-0D695142DA52}"/>
          </ac:spMkLst>
        </pc:spChg>
        <pc:spChg chg="del">
          <ac:chgData name="Michael Wiley" userId="c47109c9-80e8-471c-a0d8-79372bbb0a30" providerId="ADAL" clId="{A86B2854-18DB-4FC4-94BC-D2D791C5C4CE}" dt="2021-09-01T17:39:14.308" v="4175" actId="478"/>
          <ac:spMkLst>
            <pc:docMk/>
            <pc:sldMk cId="3560094584" sldId="1739"/>
            <ac:spMk id="7" creationId="{00000000-0000-0000-0000-000000000000}"/>
          </ac:spMkLst>
        </pc:spChg>
        <pc:spChg chg="add mod">
          <ac:chgData name="Michael Wiley" userId="c47109c9-80e8-471c-a0d8-79372bbb0a30" providerId="ADAL" clId="{A86B2854-18DB-4FC4-94BC-D2D791C5C4CE}" dt="2021-09-02T12:51:36.683" v="5587" actId="1076"/>
          <ac:spMkLst>
            <pc:docMk/>
            <pc:sldMk cId="3560094584" sldId="1739"/>
            <ac:spMk id="7" creationId="{2696E2CF-A96C-44C0-8BA1-1CCAC3158EC1}"/>
          </ac:spMkLst>
        </pc:spChg>
        <pc:spChg chg="del">
          <ac:chgData name="Michael Wiley" userId="c47109c9-80e8-471c-a0d8-79372bbb0a30" providerId="ADAL" clId="{A86B2854-18DB-4FC4-94BC-D2D791C5C4CE}" dt="2021-09-01T17:39:14.308" v="4175" actId="478"/>
          <ac:spMkLst>
            <pc:docMk/>
            <pc:sldMk cId="3560094584" sldId="1739"/>
            <ac:spMk id="8" creationId="{00000000-0000-0000-0000-000000000000}"/>
          </ac:spMkLst>
        </pc:spChg>
        <pc:spChg chg="add mod">
          <ac:chgData name="Michael Wiley" userId="c47109c9-80e8-471c-a0d8-79372bbb0a30" providerId="ADAL" clId="{A86B2854-18DB-4FC4-94BC-D2D791C5C4CE}" dt="2021-09-02T12:51:29.498" v="5586" actId="1076"/>
          <ac:spMkLst>
            <pc:docMk/>
            <pc:sldMk cId="3560094584" sldId="1739"/>
            <ac:spMk id="8" creationId="{8407C53F-8B65-42B0-ACA2-31C86004400A}"/>
          </ac:spMkLst>
        </pc:spChg>
        <pc:spChg chg="del">
          <ac:chgData name="Michael Wiley" userId="c47109c9-80e8-471c-a0d8-79372bbb0a30" providerId="ADAL" clId="{A86B2854-18DB-4FC4-94BC-D2D791C5C4CE}" dt="2021-09-01T17:39:14.308" v="4175" actId="478"/>
          <ac:spMkLst>
            <pc:docMk/>
            <pc:sldMk cId="3560094584" sldId="1739"/>
            <ac:spMk id="9" creationId="{00000000-0000-0000-0000-000000000000}"/>
          </ac:spMkLst>
        </pc:spChg>
        <pc:spChg chg="del">
          <ac:chgData name="Michael Wiley" userId="c47109c9-80e8-471c-a0d8-79372bbb0a30" providerId="ADAL" clId="{A86B2854-18DB-4FC4-94BC-D2D791C5C4CE}" dt="2021-09-01T17:39:14.308" v="4175" actId="478"/>
          <ac:spMkLst>
            <pc:docMk/>
            <pc:sldMk cId="3560094584" sldId="1739"/>
            <ac:spMk id="10" creationId="{00000000-0000-0000-0000-000000000000}"/>
          </ac:spMkLst>
        </pc:spChg>
        <pc:spChg chg="del">
          <ac:chgData name="Michael Wiley" userId="c47109c9-80e8-471c-a0d8-79372bbb0a30" providerId="ADAL" clId="{A86B2854-18DB-4FC4-94BC-D2D791C5C4CE}" dt="2021-09-01T17:39:14.308" v="4175" actId="478"/>
          <ac:spMkLst>
            <pc:docMk/>
            <pc:sldMk cId="3560094584" sldId="1739"/>
            <ac:spMk id="11" creationId="{00000000-0000-0000-0000-000000000000}"/>
          </ac:spMkLst>
        </pc:spChg>
        <pc:spChg chg="del">
          <ac:chgData name="Michael Wiley" userId="c47109c9-80e8-471c-a0d8-79372bbb0a30" providerId="ADAL" clId="{A86B2854-18DB-4FC4-94BC-D2D791C5C4CE}" dt="2021-09-01T17:39:14.308" v="4175" actId="478"/>
          <ac:spMkLst>
            <pc:docMk/>
            <pc:sldMk cId="3560094584" sldId="1739"/>
            <ac:spMk id="12" creationId="{00000000-0000-0000-0000-000000000000}"/>
          </ac:spMkLst>
        </pc:spChg>
        <pc:spChg chg="del">
          <ac:chgData name="Michael Wiley" userId="c47109c9-80e8-471c-a0d8-79372bbb0a30" providerId="ADAL" clId="{A86B2854-18DB-4FC4-94BC-D2D791C5C4CE}" dt="2021-09-01T17:39:14.308" v="4175" actId="478"/>
          <ac:spMkLst>
            <pc:docMk/>
            <pc:sldMk cId="3560094584" sldId="1739"/>
            <ac:spMk id="13" creationId="{00000000-0000-0000-0000-000000000000}"/>
          </ac:spMkLst>
        </pc:spChg>
        <pc:spChg chg="del">
          <ac:chgData name="Michael Wiley" userId="c47109c9-80e8-471c-a0d8-79372bbb0a30" providerId="ADAL" clId="{A86B2854-18DB-4FC4-94BC-D2D791C5C4CE}" dt="2021-09-01T17:39:14.308" v="4175" actId="478"/>
          <ac:spMkLst>
            <pc:docMk/>
            <pc:sldMk cId="3560094584" sldId="1739"/>
            <ac:spMk id="14" creationId="{00000000-0000-0000-0000-000000000000}"/>
          </ac:spMkLst>
        </pc:spChg>
        <pc:spChg chg="add del mod">
          <ac:chgData name="Michael Wiley" userId="c47109c9-80e8-471c-a0d8-79372bbb0a30" providerId="ADAL" clId="{A86B2854-18DB-4FC4-94BC-D2D791C5C4CE}" dt="2021-09-02T12:39:19.597" v="5510"/>
          <ac:spMkLst>
            <pc:docMk/>
            <pc:sldMk cId="3560094584" sldId="1739"/>
            <ac:spMk id="14" creationId="{0C606676-98DB-42A8-900A-4DB016FE9626}"/>
          </ac:spMkLst>
        </pc:spChg>
        <pc:spChg chg="del">
          <ac:chgData name="Michael Wiley" userId="c47109c9-80e8-471c-a0d8-79372bbb0a30" providerId="ADAL" clId="{A86B2854-18DB-4FC4-94BC-D2D791C5C4CE}" dt="2021-09-01T17:39:14.308" v="4175" actId="478"/>
          <ac:spMkLst>
            <pc:docMk/>
            <pc:sldMk cId="3560094584" sldId="1739"/>
            <ac:spMk id="15" creationId="{00000000-0000-0000-0000-000000000000}"/>
          </ac:spMkLst>
        </pc:spChg>
        <pc:spChg chg="add del mod">
          <ac:chgData name="Michael Wiley" userId="c47109c9-80e8-471c-a0d8-79372bbb0a30" providerId="ADAL" clId="{A86B2854-18DB-4FC4-94BC-D2D791C5C4CE}" dt="2021-09-02T12:39:31.635" v="5512"/>
          <ac:spMkLst>
            <pc:docMk/>
            <pc:sldMk cId="3560094584" sldId="1739"/>
            <ac:spMk id="15" creationId="{9FE55B19-07F6-45E3-939C-7703570E3A20}"/>
          </ac:spMkLst>
        </pc:spChg>
        <pc:spChg chg="del">
          <ac:chgData name="Michael Wiley" userId="c47109c9-80e8-471c-a0d8-79372bbb0a30" providerId="ADAL" clId="{A86B2854-18DB-4FC4-94BC-D2D791C5C4CE}" dt="2021-09-01T17:39:14.308" v="4175" actId="478"/>
          <ac:spMkLst>
            <pc:docMk/>
            <pc:sldMk cId="3560094584" sldId="1739"/>
            <ac:spMk id="16" creationId="{00000000-0000-0000-0000-000000000000}"/>
          </ac:spMkLst>
        </pc:spChg>
        <pc:spChg chg="add del mod">
          <ac:chgData name="Michael Wiley" userId="c47109c9-80e8-471c-a0d8-79372bbb0a30" providerId="ADAL" clId="{A86B2854-18DB-4FC4-94BC-D2D791C5C4CE}" dt="2021-09-02T12:40:12.782" v="5515" actId="478"/>
          <ac:spMkLst>
            <pc:docMk/>
            <pc:sldMk cId="3560094584" sldId="1739"/>
            <ac:spMk id="16" creationId="{D8F0936C-88F6-40B5-A14E-ADFA4F9EF6B8}"/>
          </ac:spMkLst>
        </pc:spChg>
        <pc:spChg chg="del">
          <ac:chgData name="Michael Wiley" userId="c47109c9-80e8-471c-a0d8-79372bbb0a30" providerId="ADAL" clId="{A86B2854-18DB-4FC4-94BC-D2D791C5C4CE}" dt="2021-09-01T17:39:14.308" v="4175" actId="478"/>
          <ac:spMkLst>
            <pc:docMk/>
            <pc:sldMk cId="3560094584" sldId="1739"/>
            <ac:spMk id="17" creationId="{00000000-0000-0000-0000-000000000000}"/>
          </ac:spMkLst>
        </pc:spChg>
        <pc:spChg chg="add del mod">
          <ac:chgData name="Michael Wiley" userId="c47109c9-80e8-471c-a0d8-79372bbb0a30" providerId="ADAL" clId="{A86B2854-18DB-4FC4-94BC-D2D791C5C4CE}" dt="2021-09-02T12:40:51.821" v="5518" actId="478"/>
          <ac:spMkLst>
            <pc:docMk/>
            <pc:sldMk cId="3560094584" sldId="1739"/>
            <ac:spMk id="17" creationId="{6CFB41B1-1BDC-4437-9639-A19306304B0B}"/>
          </ac:spMkLst>
        </pc:spChg>
        <pc:spChg chg="del">
          <ac:chgData name="Michael Wiley" userId="c47109c9-80e8-471c-a0d8-79372bbb0a30" providerId="ADAL" clId="{A86B2854-18DB-4FC4-94BC-D2D791C5C4CE}" dt="2021-09-01T17:39:14.308" v="4175" actId="478"/>
          <ac:spMkLst>
            <pc:docMk/>
            <pc:sldMk cId="3560094584" sldId="1739"/>
            <ac:spMk id="18" creationId="{00000000-0000-0000-0000-000000000000}"/>
          </ac:spMkLst>
        </pc:spChg>
        <pc:spChg chg="del">
          <ac:chgData name="Michael Wiley" userId="c47109c9-80e8-471c-a0d8-79372bbb0a30" providerId="ADAL" clId="{A86B2854-18DB-4FC4-94BC-D2D791C5C4CE}" dt="2021-09-01T17:39:14.308" v="4175" actId="478"/>
          <ac:spMkLst>
            <pc:docMk/>
            <pc:sldMk cId="3560094584" sldId="1739"/>
            <ac:spMk id="19" creationId="{00000000-0000-0000-0000-000000000000}"/>
          </ac:spMkLst>
        </pc:spChg>
        <pc:spChg chg="add mod">
          <ac:chgData name="Michael Wiley" userId="c47109c9-80e8-471c-a0d8-79372bbb0a30" providerId="ADAL" clId="{A86B2854-18DB-4FC4-94BC-D2D791C5C4CE}" dt="2021-09-02T12:49:08.505" v="5573" actId="1076"/>
          <ac:spMkLst>
            <pc:docMk/>
            <pc:sldMk cId="3560094584" sldId="1739"/>
            <ac:spMk id="22" creationId="{9A6D8951-34AF-4661-AEF6-10BE78E67643}"/>
          </ac:spMkLst>
        </pc:spChg>
        <pc:cxnChg chg="add mod">
          <ac:chgData name="Michael Wiley" userId="c47109c9-80e8-471c-a0d8-79372bbb0a30" providerId="ADAL" clId="{A86B2854-18DB-4FC4-94BC-D2D791C5C4CE}" dt="2021-09-02T12:52:31.894" v="5592" actId="1076"/>
          <ac:cxnSpMkLst>
            <pc:docMk/>
            <pc:sldMk cId="3560094584" sldId="1739"/>
            <ac:cxnSpMk id="24" creationId="{BBDD137D-5EB3-4CB8-91AF-26910762D641}"/>
          </ac:cxnSpMkLst>
        </pc:cxnChg>
        <pc:cxnChg chg="add mod">
          <ac:chgData name="Michael Wiley" userId="c47109c9-80e8-471c-a0d8-79372bbb0a30" providerId="ADAL" clId="{A86B2854-18DB-4FC4-94BC-D2D791C5C4CE}" dt="2021-09-02T12:50:54.679" v="5582" actId="14100"/>
          <ac:cxnSpMkLst>
            <pc:docMk/>
            <pc:sldMk cId="3560094584" sldId="1739"/>
            <ac:cxnSpMk id="26" creationId="{90D753E7-BE16-4030-98E6-A79C93867CAC}"/>
          </ac:cxnSpMkLst>
        </pc:cxnChg>
        <pc:cxnChg chg="add del mod">
          <ac:chgData name="Michael Wiley" userId="c47109c9-80e8-471c-a0d8-79372bbb0a30" providerId="ADAL" clId="{A86B2854-18DB-4FC4-94BC-D2D791C5C4CE}" dt="2021-09-01T17:56:09.958" v="4324" actId="478"/>
          <ac:cxnSpMkLst>
            <pc:docMk/>
            <pc:sldMk cId="3560094584" sldId="1739"/>
            <ac:cxnSpMk id="30" creationId="{1CBCA04B-5B80-45D2-8645-AE9E14884E9F}"/>
          </ac:cxnSpMkLst>
        </pc:cxnChg>
        <pc:cxnChg chg="add del mod">
          <ac:chgData name="Michael Wiley" userId="c47109c9-80e8-471c-a0d8-79372bbb0a30" providerId="ADAL" clId="{A86B2854-18DB-4FC4-94BC-D2D791C5C4CE}" dt="2021-09-01T17:57:11.944" v="4332" actId="478"/>
          <ac:cxnSpMkLst>
            <pc:docMk/>
            <pc:sldMk cId="3560094584" sldId="1739"/>
            <ac:cxnSpMk id="36" creationId="{D6873D48-B6A6-4767-A01E-936C0086D299}"/>
          </ac:cxnSpMkLst>
        </pc:cxnChg>
        <pc:cxnChg chg="add del">
          <ac:chgData name="Michael Wiley" userId="c47109c9-80e8-471c-a0d8-79372bbb0a30" providerId="ADAL" clId="{A86B2854-18DB-4FC4-94BC-D2D791C5C4CE}" dt="2021-09-01T17:57:08.081" v="4331" actId="11529"/>
          <ac:cxnSpMkLst>
            <pc:docMk/>
            <pc:sldMk cId="3560094584" sldId="1739"/>
            <ac:cxnSpMk id="42" creationId="{577D2E00-763A-4083-A3C7-DE9ECF5E3720}"/>
          </ac:cxnSpMkLst>
        </pc:cxnChg>
        <pc:cxnChg chg="add mod">
          <ac:chgData name="Michael Wiley" userId="c47109c9-80e8-471c-a0d8-79372bbb0a30" providerId="ADAL" clId="{A86B2854-18DB-4FC4-94BC-D2D791C5C4CE}" dt="2021-09-02T12:52:06.583" v="5591" actId="14100"/>
          <ac:cxnSpMkLst>
            <pc:docMk/>
            <pc:sldMk cId="3560094584" sldId="1739"/>
            <ac:cxnSpMk id="44" creationId="{A0616FDB-99E1-460F-809F-C0895FD7DD71}"/>
          </ac:cxnSpMkLst>
        </pc:cxnChg>
        <pc:cxnChg chg="add mod">
          <ac:chgData name="Michael Wiley" userId="c47109c9-80e8-471c-a0d8-79372bbb0a30" providerId="ADAL" clId="{A86B2854-18DB-4FC4-94BC-D2D791C5C4CE}" dt="2021-09-02T12:49:00.800" v="5571" actId="1076"/>
          <ac:cxnSpMkLst>
            <pc:docMk/>
            <pc:sldMk cId="3560094584" sldId="1739"/>
            <ac:cxnSpMk id="46" creationId="{F04A19A5-7DD6-4C29-91F7-E7EC7B96AD72}"/>
          </ac:cxnSpMkLst>
        </pc:cxnChg>
        <pc:cxnChg chg="add mod">
          <ac:chgData name="Michael Wiley" userId="c47109c9-80e8-471c-a0d8-79372bbb0a30" providerId="ADAL" clId="{A86B2854-18DB-4FC4-94BC-D2D791C5C4CE}" dt="2021-09-02T12:52:54.483" v="5595" actId="14100"/>
          <ac:cxnSpMkLst>
            <pc:docMk/>
            <pc:sldMk cId="3560094584" sldId="1739"/>
            <ac:cxnSpMk id="50" creationId="{A5348538-3537-4172-A298-B1A0C13E8472}"/>
          </ac:cxnSpMkLst>
        </pc:cxnChg>
        <pc:cxnChg chg="add mod">
          <ac:chgData name="Michael Wiley" userId="c47109c9-80e8-471c-a0d8-79372bbb0a30" providerId="ADAL" clId="{A86B2854-18DB-4FC4-94BC-D2D791C5C4CE}" dt="2021-09-02T12:51:42.805" v="5588" actId="14100"/>
          <ac:cxnSpMkLst>
            <pc:docMk/>
            <pc:sldMk cId="3560094584" sldId="1739"/>
            <ac:cxnSpMk id="55" creationId="{86C16418-4C60-4BD6-B185-75CB4BE395EF}"/>
          </ac:cxnSpMkLst>
        </pc:cxnChg>
      </pc:sldChg>
      <pc:sldChg chg="modSp mod modNotesTx">
        <pc:chgData name="Michael Wiley" userId="c47109c9-80e8-471c-a0d8-79372bbb0a30" providerId="ADAL" clId="{A86B2854-18DB-4FC4-94BC-D2D791C5C4CE}" dt="2021-09-01T19:44:24.052" v="5274" actId="20577"/>
        <pc:sldMkLst>
          <pc:docMk/>
          <pc:sldMk cId="172314884" sldId="1740"/>
        </pc:sldMkLst>
        <pc:spChg chg="mod">
          <ac:chgData name="Michael Wiley" userId="c47109c9-80e8-471c-a0d8-79372bbb0a30" providerId="ADAL" clId="{A86B2854-18DB-4FC4-94BC-D2D791C5C4CE}" dt="2021-09-01T19:32:52.084" v="4756" actId="6549"/>
          <ac:spMkLst>
            <pc:docMk/>
            <pc:sldMk cId="172314884" sldId="1740"/>
            <ac:spMk id="2" creationId="{00000000-0000-0000-0000-000000000000}"/>
          </ac:spMkLst>
        </pc:spChg>
        <pc:graphicFrameChg chg="mod modGraphic">
          <ac:chgData name="Michael Wiley" userId="c47109c9-80e8-471c-a0d8-79372bbb0a30" providerId="ADAL" clId="{A86B2854-18DB-4FC4-94BC-D2D791C5C4CE}" dt="2021-09-01T19:43:42.992" v="5217" actId="20577"/>
          <ac:graphicFrameMkLst>
            <pc:docMk/>
            <pc:sldMk cId="172314884" sldId="1740"/>
            <ac:graphicFrameMk id="3" creationId="{D0E0DB5C-7432-4211-B55B-5D6CE03F2884}"/>
          </ac:graphicFrameMkLst>
        </pc:graphicFrameChg>
      </pc:sldChg>
      <pc:sldChg chg="delSp modSp add del mod delAnim">
        <pc:chgData name="Michael Wiley" userId="c47109c9-80e8-471c-a0d8-79372bbb0a30" providerId="ADAL" clId="{A86B2854-18DB-4FC4-94BC-D2D791C5C4CE}" dt="2021-09-01T19:01:51.523" v="4741" actId="47"/>
        <pc:sldMkLst>
          <pc:docMk/>
          <pc:sldMk cId="914162887" sldId="1740"/>
        </pc:sldMkLst>
        <pc:spChg chg="del mod">
          <ac:chgData name="Michael Wiley" userId="c47109c9-80e8-471c-a0d8-79372bbb0a30" providerId="ADAL" clId="{A86B2854-18DB-4FC4-94BC-D2D791C5C4CE}" dt="2021-09-01T18:27:41.243" v="4494" actId="478"/>
          <ac:spMkLst>
            <pc:docMk/>
            <pc:sldMk cId="914162887" sldId="1740"/>
            <ac:spMk id="7" creationId="{00000000-0000-0000-0000-000000000000}"/>
          </ac:spMkLst>
        </pc:spChg>
        <pc:spChg chg="mod">
          <ac:chgData name="Michael Wiley" userId="c47109c9-80e8-471c-a0d8-79372bbb0a30" providerId="ADAL" clId="{A86B2854-18DB-4FC4-94BC-D2D791C5C4CE}" dt="2021-09-01T18:27:24.633" v="4491" actId="1076"/>
          <ac:spMkLst>
            <pc:docMk/>
            <pc:sldMk cId="914162887" sldId="1740"/>
            <ac:spMk id="8" creationId="{00000000-0000-0000-0000-000000000000}"/>
          </ac:spMkLst>
        </pc:spChg>
        <pc:spChg chg="mod">
          <ac:chgData name="Michael Wiley" userId="c47109c9-80e8-471c-a0d8-79372bbb0a30" providerId="ADAL" clId="{A86B2854-18DB-4FC4-94BC-D2D791C5C4CE}" dt="2021-09-01T18:28:58.382" v="4501" actId="1076"/>
          <ac:spMkLst>
            <pc:docMk/>
            <pc:sldMk cId="914162887" sldId="1740"/>
            <ac:spMk id="9" creationId="{00000000-0000-0000-0000-000000000000}"/>
          </ac:spMkLst>
        </pc:spChg>
        <pc:spChg chg="del">
          <ac:chgData name="Michael Wiley" userId="c47109c9-80e8-471c-a0d8-79372bbb0a30" providerId="ADAL" clId="{A86B2854-18DB-4FC4-94BC-D2D791C5C4CE}" dt="2021-09-01T18:28:00.183" v="4496" actId="478"/>
          <ac:spMkLst>
            <pc:docMk/>
            <pc:sldMk cId="914162887" sldId="1740"/>
            <ac:spMk id="10" creationId="{00000000-0000-0000-0000-000000000000}"/>
          </ac:spMkLst>
        </pc:spChg>
        <pc:spChg chg="mod">
          <ac:chgData name="Michael Wiley" userId="c47109c9-80e8-471c-a0d8-79372bbb0a30" providerId="ADAL" clId="{A86B2854-18DB-4FC4-94BC-D2D791C5C4CE}" dt="2021-09-01T18:28:19.093" v="4498" actId="1076"/>
          <ac:spMkLst>
            <pc:docMk/>
            <pc:sldMk cId="914162887" sldId="1740"/>
            <ac:spMk id="11" creationId="{00000000-0000-0000-0000-000000000000}"/>
          </ac:spMkLst>
        </pc:spChg>
        <pc:spChg chg="mod">
          <ac:chgData name="Michael Wiley" userId="c47109c9-80e8-471c-a0d8-79372bbb0a30" providerId="ADAL" clId="{A86B2854-18DB-4FC4-94BC-D2D791C5C4CE}" dt="2021-09-01T18:28:35.463" v="4499" actId="1076"/>
          <ac:spMkLst>
            <pc:docMk/>
            <pc:sldMk cId="914162887" sldId="1740"/>
            <ac:spMk id="12" creationId="{00000000-0000-0000-0000-000000000000}"/>
          </ac:spMkLst>
        </pc:spChg>
        <pc:spChg chg="mod">
          <ac:chgData name="Michael Wiley" userId="c47109c9-80e8-471c-a0d8-79372bbb0a30" providerId="ADAL" clId="{A86B2854-18DB-4FC4-94BC-D2D791C5C4CE}" dt="2021-09-01T18:28:15.753" v="4497" actId="1076"/>
          <ac:spMkLst>
            <pc:docMk/>
            <pc:sldMk cId="914162887" sldId="1740"/>
            <ac:spMk id="14" creationId="{00000000-0000-0000-0000-000000000000}"/>
          </ac:spMkLst>
        </pc:spChg>
        <pc:spChg chg="mod">
          <ac:chgData name="Michael Wiley" userId="c47109c9-80e8-471c-a0d8-79372bbb0a30" providerId="ADAL" clId="{A86B2854-18DB-4FC4-94BC-D2D791C5C4CE}" dt="2021-09-01T18:28:43.428" v="4500" actId="1076"/>
          <ac:spMkLst>
            <pc:docMk/>
            <pc:sldMk cId="914162887" sldId="1740"/>
            <ac:spMk id="15" creationId="{00000000-0000-0000-0000-000000000000}"/>
          </ac:spMkLst>
        </pc:spChg>
      </pc:sldChg>
      <pc:sldChg chg="modSp add del mod modNotesTx">
        <pc:chgData name="Michael Wiley" userId="c47109c9-80e8-471c-a0d8-79372bbb0a30" providerId="ADAL" clId="{A86B2854-18DB-4FC4-94BC-D2D791C5C4CE}" dt="2021-09-02T14:04:18.992" v="6846" actId="47"/>
        <pc:sldMkLst>
          <pc:docMk/>
          <pc:sldMk cId="3615358030" sldId="1742"/>
        </pc:sldMkLst>
        <pc:spChg chg="mod">
          <ac:chgData name="Michael Wiley" userId="c47109c9-80e8-471c-a0d8-79372bbb0a30" providerId="ADAL" clId="{A86B2854-18DB-4FC4-94BC-D2D791C5C4CE}" dt="2021-09-02T13:22:36.440" v="5613" actId="20577"/>
          <ac:spMkLst>
            <pc:docMk/>
            <pc:sldMk cId="3615358030" sldId="1742"/>
            <ac:spMk id="2" creationId="{00000000-0000-0000-0000-000000000000}"/>
          </ac:spMkLst>
        </pc:spChg>
        <pc:spChg chg="mod">
          <ac:chgData name="Michael Wiley" userId="c47109c9-80e8-471c-a0d8-79372bbb0a30" providerId="ADAL" clId="{A86B2854-18DB-4FC4-94BC-D2D791C5C4CE}" dt="2021-09-02T13:26:24.676" v="5772" actId="20577"/>
          <ac:spMkLst>
            <pc:docMk/>
            <pc:sldMk cId="3615358030" sldId="1742"/>
            <ac:spMk id="3" creationId="{00000000-0000-0000-0000-000000000000}"/>
          </ac:spMkLst>
        </pc:spChg>
      </pc:sldChg>
      <pc:sldChg chg="modSp mod ord modNotesTx">
        <pc:chgData name="Michael Wiley" userId="c47109c9-80e8-471c-a0d8-79372bbb0a30" providerId="ADAL" clId="{A86B2854-18DB-4FC4-94BC-D2D791C5C4CE}" dt="2021-09-02T14:59:23.628" v="7881" actId="20577"/>
        <pc:sldMkLst>
          <pc:docMk/>
          <pc:sldMk cId="1967107824" sldId="1743"/>
        </pc:sldMkLst>
        <pc:spChg chg="mod">
          <ac:chgData name="Michael Wiley" userId="c47109c9-80e8-471c-a0d8-79372bbb0a30" providerId="ADAL" clId="{A86B2854-18DB-4FC4-94BC-D2D791C5C4CE}" dt="2021-09-02T13:38:03.152" v="5780" actId="20577"/>
          <ac:spMkLst>
            <pc:docMk/>
            <pc:sldMk cId="1967107824" sldId="1743"/>
            <ac:spMk id="2" creationId="{00000000-0000-0000-0000-000000000000}"/>
          </ac:spMkLst>
        </pc:spChg>
        <pc:graphicFrameChg chg="mod modGraphic">
          <ac:chgData name="Michael Wiley" userId="c47109c9-80e8-471c-a0d8-79372bbb0a30" providerId="ADAL" clId="{A86B2854-18DB-4FC4-94BC-D2D791C5C4CE}" dt="2021-09-02T14:59:23.628" v="7881" actId="20577"/>
          <ac:graphicFrameMkLst>
            <pc:docMk/>
            <pc:sldMk cId="1967107824" sldId="1743"/>
            <ac:graphicFrameMk id="3" creationId="{D0E0DB5C-7432-4211-B55B-5D6CE03F2884}"/>
          </ac:graphicFrameMkLst>
        </pc:graphicFrameChg>
      </pc:sldChg>
      <pc:sldChg chg="add del">
        <pc:chgData name="Michael Wiley" userId="c47109c9-80e8-471c-a0d8-79372bbb0a30" providerId="ADAL" clId="{A86B2854-18DB-4FC4-94BC-D2D791C5C4CE}" dt="2021-09-02T14:08:50.736" v="6854" actId="2696"/>
        <pc:sldMkLst>
          <pc:docMk/>
          <pc:sldMk cId="2028240088" sldId="1744"/>
        </pc:sldMkLst>
      </pc:sldChg>
      <pc:sldChg chg="addSp delSp modSp del mod">
        <pc:chgData name="Michael Wiley" userId="c47109c9-80e8-471c-a0d8-79372bbb0a30" providerId="ADAL" clId="{A86B2854-18DB-4FC4-94BC-D2D791C5C4CE}" dt="2021-09-02T14:15:56.020" v="6870" actId="47"/>
        <pc:sldMkLst>
          <pc:docMk/>
          <pc:sldMk cId="3819554510" sldId="1744"/>
        </pc:sldMkLst>
        <pc:spChg chg="mod">
          <ac:chgData name="Michael Wiley" userId="c47109c9-80e8-471c-a0d8-79372bbb0a30" providerId="ADAL" clId="{A86B2854-18DB-4FC4-94BC-D2D791C5C4CE}" dt="2021-09-02T14:09:27.124" v="6858"/>
          <ac:spMkLst>
            <pc:docMk/>
            <pc:sldMk cId="3819554510" sldId="1744"/>
            <ac:spMk id="2" creationId="{53A63977-4617-413B-86F5-7E49C225DAD0}"/>
          </ac:spMkLst>
        </pc:spChg>
        <pc:spChg chg="del">
          <ac:chgData name="Michael Wiley" userId="c47109c9-80e8-471c-a0d8-79372bbb0a30" providerId="ADAL" clId="{A86B2854-18DB-4FC4-94BC-D2D791C5C4CE}" dt="2021-09-02T14:13:37.355" v="6863" actId="478"/>
          <ac:spMkLst>
            <pc:docMk/>
            <pc:sldMk cId="3819554510" sldId="1744"/>
            <ac:spMk id="10" creationId="{00000000-0000-0000-0000-000000000000}"/>
          </ac:spMkLst>
        </pc:spChg>
        <pc:spChg chg="del mod">
          <ac:chgData name="Michael Wiley" userId="c47109c9-80e8-471c-a0d8-79372bbb0a30" providerId="ADAL" clId="{A86B2854-18DB-4FC4-94BC-D2D791C5C4CE}" dt="2021-09-02T14:13:32.874" v="6862" actId="478"/>
          <ac:spMkLst>
            <pc:docMk/>
            <pc:sldMk cId="3819554510" sldId="1744"/>
            <ac:spMk id="11" creationId="{FB597160-591E-425E-86D2-FD62313F1471}"/>
          </ac:spMkLst>
        </pc:spChg>
        <pc:spChg chg="del">
          <ac:chgData name="Michael Wiley" userId="c47109c9-80e8-471c-a0d8-79372bbb0a30" providerId="ADAL" clId="{A86B2854-18DB-4FC4-94BC-D2D791C5C4CE}" dt="2021-09-02T14:09:32.652" v="6859" actId="478"/>
          <ac:spMkLst>
            <pc:docMk/>
            <pc:sldMk cId="3819554510" sldId="1744"/>
            <ac:spMk id="15" creationId="{55FA0F30-D98B-49B2-8612-12A61EA41194}"/>
          </ac:spMkLst>
        </pc:spChg>
        <pc:picChg chg="add del mod">
          <ac:chgData name="Michael Wiley" userId="c47109c9-80e8-471c-a0d8-79372bbb0a30" providerId="ADAL" clId="{A86B2854-18DB-4FC4-94BC-D2D791C5C4CE}" dt="2021-09-02T14:15:27.374" v="6869" actId="478"/>
          <ac:picMkLst>
            <pc:docMk/>
            <pc:sldMk cId="3819554510" sldId="1744"/>
            <ac:picMk id="4" creationId="{A27A8C4A-3952-4E15-BD2C-515393445B4A}"/>
          </ac:picMkLst>
        </pc:picChg>
      </pc:sldChg>
      <pc:sldChg chg="delSp modSp del mod modNotesTx">
        <pc:chgData name="Michael Wiley" userId="c47109c9-80e8-471c-a0d8-79372bbb0a30" providerId="ADAL" clId="{A86B2854-18DB-4FC4-94BC-D2D791C5C4CE}" dt="2021-09-02T14:30:01.582" v="7396" actId="47"/>
        <pc:sldMkLst>
          <pc:docMk/>
          <pc:sldMk cId="4205996775" sldId="1745"/>
        </pc:sldMkLst>
        <pc:spChg chg="mod">
          <ac:chgData name="Michael Wiley" userId="c47109c9-80e8-471c-a0d8-79372bbb0a30" providerId="ADAL" clId="{A86B2854-18DB-4FC4-94BC-D2D791C5C4CE}" dt="2021-09-02T14:16:13.805" v="6889" actId="6549"/>
          <ac:spMkLst>
            <pc:docMk/>
            <pc:sldMk cId="4205996775" sldId="1745"/>
            <ac:spMk id="2" creationId="{53A63977-4617-413B-86F5-7E49C225DAD0}"/>
          </ac:spMkLst>
        </pc:spChg>
        <pc:spChg chg="del">
          <ac:chgData name="Michael Wiley" userId="c47109c9-80e8-471c-a0d8-79372bbb0a30" providerId="ADAL" clId="{A86B2854-18DB-4FC4-94BC-D2D791C5C4CE}" dt="2021-09-02T14:16:17.463" v="6890" actId="478"/>
          <ac:spMkLst>
            <pc:docMk/>
            <pc:sldMk cId="4205996775" sldId="1745"/>
            <ac:spMk id="10" creationId="{00000000-0000-0000-0000-000000000000}"/>
          </ac:spMkLst>
        </pc:spChg>
        <pc:spChg chg="mod">
          <ac:chgData name="Michael Wiley" userId="c47109c9-80e8-471c-a0d8-79372bbb0a30" providerId="ADAL" clId="{A86B2854-18DB-4FC4-94BC-D2D791C5C4CE}" dt="2021-09-02T14:19:07.517" v="6913" actId="6549"/>
          <ac:spMkLst>
            <pc:docMk/>
            <pc:sldMk cId="4205996775" sldId="1745"/>
            <ac:spMk id="11" creationId="{FB597160-591E-425E-86D2-FD62313F1471}"/>
          </ac:spMkLst>
        </pc:spChg>
        <pc:spChg chg="del">
          <ac:chgData name="Michael Wiley" userId="c47109c9-80e8-471c-a0d8-79372bbb0a30" providerId="ADAL" clId="{A86B2854-18DB-4FC4-94BC-D2D791C5C4CE}" dt="2021-09-02T14:17:27.284" v="6892" actId="478"/>
          <ac:spMkLst>
            <pc:docMk/>
            <pc:sldMk cId="4205996775" sldId="1745"/>
            <ac:spMk id="15" creationId="{55FA0F30-D98B-49B2-8612-12A61EA41194}"/>
          </ac:spMkLst>
        </pc:spChg>
      </pc:sldChg>
      <pc:sldChg chg="modSp add mod ord">
        <pc:chgData name="Michael Wiley" userId="c47109c9-80e8-471c-a0d8-79372bbb0a30" providerId="ADAL" clId="{A86B2854-18DB-4FC4-94BC-D2D791C5C4CE}" dt="2021-09-02T14:30:26.803" v="7400" actId="20577"/>
        <pc:sldMkLst>
          <pc:docMk/>
          <pc:sldMk cId="1115232774" sldId="1746"/>
        </pc:sldMkLst>
        <pc:spChg chg="mod">
          <ac:chgData name="Michael Wiley" userId="c47109c9-80e8-471c-a0d8-79372bbb0a30" providerId="ADAL" clId="{A86B2854-18DB-4FC4-94BC-D2D791C5C4CE}" dt="2021-09-02T14:30:26.803" v="7400" actId="20577"/>
          <ac:spMkLst>
            <pc:docMk/>
            <pc:sldMk cId="1115232774" sldId="1746"/>
            <ac:spMk id="9" creationId="{1C136209-61A5-4A62-B9CB-6A314CA41F6F}"/>
          </ac:spMkLst>
        </pc:spChg>
        <pc:spChg chg="mod">
          <ac:chgData name="Michael Wiley" userId="c47109c9-80e8-471c-a0d8-79372bbb0a30" providerId="ADAL" clId="{A86B2854-18DB-4FC4-94BC-D2D791C5C4CE}" dt="2021-09-02T14:21:22.636" v="6932" actId="6549"/>
          <ac:spMkLst>
            <pc:docMk/>
            <pc:sldMk cId="1115232774" sldId="1746"/>
            <ac:spMk id="10" creationId="{7454ADDF-E757-438E-BAD0-79836EBA7F73}"/>
          </ac:spMkLst>
        </pc:spChg>
      </pc:sldChg>
      <pc:sldChg chg="add mod modShow">
        <pc:chgData name="Michael Wiley" userId="c47109c9-80e8-471c-a0d8-79372bbb0a30" providerId="ADAL" clId="{A86B2854-18DB-4FC4-94BC-D2D791C5C4CE}" dt="2021-09-02T14:43:00.526" v="7449" actId="729"/>
        <pc:sldMkLst>
          <pc:docMk/>
          <pc:sldMk cId="546861734" sldId="1747"/>
        </pc:sldMkLst>
      </pc:sldChg>
      <pc:sldChg chg="modSp mod modNotesTx">
        <pc:chgData name="Michael Wiley" userId="c47109c9-80e8-471c-a0d8-79372bbb0a30" providerId="ADAL" clId="{A86B2854-18DB-4FC4-94BC-D2D791C5C4CE}" dt="2021-09-02T15:51:21.613" v="8907" actId="20577"/>
        <pc:sldMkLst>
          <pc:docMk/>
          <pc:sldMk cId="4191083559" sldId="1748"/>
        </pc:sldMkLst>
        <pc:spChg chg="mod">
          <ac:chgData name="Michael Wiley" userId="c47109c9-80e8-471c-a0d8-79372bbb0a30" providerId="ADAL" clId="{A86B2854-18DB-4FC4-94BC-D2D791C5C4CE}" dt="2021-09-02T15:51:21.613" v="8907" actId="20577"/>
          <ac:spMkLst>
            <pc:docMk/>
            <pc:sldMk cId="4191083559" sldId="1748"/>
            <ac:spMk id="2" creationId="{00000000-0000-0000-0000-000000000000}"/>
          </ac:spMkLst>
        </pc:spChg>
        <pc:graphicFrameChg chg="mod modGraphic">
          <ac:chgData name="Michael Wiley" userId="c47109c9-80e8-471c-a0d8-79372bbb0a30" providerId="ADAL" clId="{A86B2854-18DB-4FC4-94BC-D2D791C5C4CE}" dt="2021-09-02T15:51:10" v="8901" actId="20577"/>
          <ac:graphicFrameMkLst>
            <pc:docMk/>
            <pc:sldMk cId="4191083559" sldId="1748"/>
            <ac:graphicFrameMk id="3" creationId="{D0E0DB5C-7432-4211-B55B-5D6CE03F2884}"/>
          </ac:graphicFrameMkLst>
        </pc:graphicFrameChg>
      </pc:sldChg>
      <pc:sldChg chg="modSp add mod ord modNotesTx">
        <pc:chgData name="Michael Wiley" userId="c47109c9-80e8-471c-a0d8-79372bbb0a30" providerId="ADAL" clId="{A86B2854-18DB-4FC4-94BC-D2D791C5C4CE}" dt="2021-09-02T16:18:50.283" v="8981"/>
        <pc:sldMkLst>
          <pc:docMk/>
          <pc:sldMk cId="92468747" sldId="1749"/>
        </pc:sldMkLst>
        <pc:spChg chg="mod">
          <ac:chgData name="Michael Wiley" userId="c47109c9-80e8-471c-a0d8-79372bbb0a30" providerId="ADAL" clId="{A86B2854-18DB-4FC4-94BC-D2D791C5C4CE}" dt="2021-09-02T16:17:28.535" v="8977" actId="5793"/>
          <ac:spMkLst>
            <pc:docMk/>
            <pc:sldMk cId="92468747" sldId="1749"/>
            <ac:spMk id="3" creationId="{00000000-0000-0000-0000-000000000000}"/>
          </ac:spMkLst>
        </pc:spChg>
        <pc:spChg chg="mod">
          <ac:chgData name="Michael Wiley" userId="c47109c9-80e8-471c-a0d8-79372bbb0a30" providerId="ADAL" clId="{A86B2854-18DB-4FC4-94BC-D2D791C5C4CE}" dt="2021-09-02T16:17:56.824" v="8979" actId="255"/>
          <ac:spMkLst>
            <pc:docMk/>
            <pc:sldMk cId="92468747" sldId="1749"/>
            <ac:spMk id="7" creationId="{00000000-0000-0000-0000-000000000000}"/>
          </ac:spMkLst>
        </pc:spChg>
      </pc:sldChg>
      <pc:sldChg chg="modSp del mod">
        <pc:chgData name="Michael Wiley" userId="c47109c9-80e8-471c-a0d8-79372bbb0a30" providerId="ADAL" clId="{A86B2854-18DB-4FC4-94BC-D2D791C5C4CE}" dt="2021-09-02T14:59:29.138" v="7882" actId="47"/>
        <pc:sldMkLst>
          <pc:docMk/>
          <pc:sldMk cId="2635288642" sldId="1749"/>
        </pc:sldMkLst>
        <pc:graphicFrameChg chg="mod modGraphic">
          <ac:chgData name="Michael Wiley" userId="c47109c9-80e8-471c-a0d8-79372bbb0a30" providerId="ADAL" clId="{A86B2854-18DB-4FC4-94BC-D2D791C5C4CE}" dt="2021-09-02T14:59:00.718" v="7876" actId="20577"/>
          <ac:graphicFrameMkLst>
            <pc:docMk/>
            <pc:sldMk cId="2635288642" sldId="1749"/>
            <ac:graphicFrameMk id="3" creationId="{D0E0DB5C-7432-4211-B55B-5D6CE03F2884}"/>
          </ac:graphicFrameMkLst>
        </pc:graphicFrameChg>
      </pc:sldChg>
      <pc:sldChg chg="modSp del mod">
        <pc:chgData name="Michael Wiley" userId="c47109c9-80e8-471c-a0d8-79372bbb0a30" providerId="ADAL" clId="{A86B2854-18DB-4FC4-94BC-D2D791C5C4CE}" dt="2021-09-02T15:37:13.883" v="8547" actId="47"/>
        <pc:sldMkLst>
          <pc:docMk/>
          <pc:sldMk cId="2709386801" sldId="1749"/>
        </pc:sldMkLst>
        <pc:spChg chg="mod">
          <ac:chgData name="Michael Wiley" userId="c47109c9-80e8-471c-a0d8-79372bbb0a30" providerId="ADAL" clId="{A86B2854-18DB-4FC4-94BC-D2D791C5C4CE}" dt="2021-09-02T15:33:49.081" v="8482" actId="6549"/>
          <ac:spMkLst>
            <pc:docMk/>
            <pc:sldMk cId="2709386801" sldId="1749"/>
            <ac:spMk id="2" creationId="{F10CF265-FDED-48B4-B9C5-A3DD937D93DE}"/>
          </ac:spMkLst>
        </pc:spChg>
        <pc:spChg chg="mod">
          <ac:chgData name="Michael Wiley" userId="c47109c9-80e8-471c-a0d8-79372bbb0a30" providerId="ADAL" clId="{A86B2854-18DB-4FC4-94BC-D2D791C5C4CE}" dt="2021-09-02T15:33:38.869" v="8474"/>
          <ac:spMkLst>
            <pc:docMk/>
            <pc:sldMk cId="2709386801" sldId="1749"/>
            <ac:spMk id="10" creationId="{7454ADDF-E757-438E-BAD0-79836EBA7F73}"/>
          </ac:spMkLst>
        </pc:spChg>
      </pc:sldChg>
      <pc:sldChg chg="modSp add mod modNotesTx">
        <pc:chgData name="Michael Wiley" userId="c47109c9-80e8-471c-a0d8-79372bbb0a30" providerId="ADAL" clId="{A86B2854-18DB-4FC4-94BC-D2D791C5C4CE}" dt="2021-09-02T16:44:07.470" v="9779" actId="2084"/>
        <pc:sldMkLst>
          <pc:docMk/>
          <pc:sldMk cId="1748862827" sldId="1750"/>
        </pc:sldMkLst>
        <pc:spChg chg="mod">
          <ac:chgData name="Michael Wiley" userId="c47109c9-80e8-471c-a0d8-79372bbb0a30" providerId="ADAL" clId="{A86B2854-18DB-4FC4-94BC-D2D791C5C4CE}" dt="2021-09-02T16:29:37.699" v="9269" actId="6549"/>
          <ac:spMkLst>
            <pc:docMk/>
            <pc:sldMk cId="1748862827" sldId="1750"/>
            <ac:spMk id="9" creationId="{00000000-0000-0000-0000-000000000000}"/>
          </ac:spMkLst>
        </pc:spChg>
        <pc:graphicFrameChg chg="mod modGraphic">
          <ac:chgData name="Michael Wiley" userId="c47109c9-80e8-471c-a0d8-79372bbb0a30" providerId="ADAL" clId="{A86B2854-18DB-4FC4-94BC-D2D791C5C4CE}" dt="2021-09-02T16:44:07.470" v="9779" actId="2084"/>
          <ac:graphicFrameMkLst>
            <pc:docMk/>
            <pc:sldMk cId="1748862827" sldId="1750"/>
            <ac:graphicFrameMk id="6" creationId="{AABE340B-27A4-4C51-8754-A5D97B0CFE80}"/>
          </ac:graphicFrameMkLst>
        </pc:graphicFrameChg>
        <pc:graphicFrameChg chg="mod modGraphic">
          <ac:chgData name="Michael Wiley" userId="c47109c9-80e8-471c-a0d8-79372bbb0a30" providerId="ADAL" clId="{A86B2854-18DB-4FC4-94BC-D2D791C5C4CE}" dt="2021-09-02T16:43:35.680" v="9777" actId="20577"/>
          <ac:graphicFrameMkLst>
            <pc:docMk/>
            <pc:sldMk cId="1748862827" sldId="1750"/>
            <ac:graphicFrameMk id="14" creationId="{54CCDCFE-6CEA-487A-861D-C82BE2C79D1E}"/>
          </ac:graphicFrameMkLst>
        </pc:graphicFrameChg>
        <pc:picChg chg="mod">
          <ac:chgData name="Michael Wiley" userId="c47109c9-80e8-471c-a0d8-79372bbb0a30" providerId="ADAL" clId="{A86B2854-18DB-4FC4-94BC-D2D791C5C4CE}" dt="2021-09-02T16:36:09.951" v="9450" actId="1076"/>
          <ac:picMkLst>
            <pc:docMk/>
            <pc:sldMk cId="1748862827" sldId="1750"/>
            <ac:picMk id="7" creationId="{3E3A4C01-3988-4E2D-B61A-D6712B444421}"/>
          </ac:picMkLst>
        </pc:picChg>
        <pc:picChg chg="mod">
          <ac:chgData name="Michael Wiley" userId="c47109c9-80e8-471c-a0d8-79372bbb0a30" providerId="ADAL" clId="{A86B2854-18DB-4FC4-94BC-D2D791C5C4CE}" dt="2021-09-02T16:36:02.789" v="9448" actId="1076"/>
          <ac:picMkLst>
            <pc:docMk/>
            <pc:sldMk cId="1748862827" sldId="1750"/>
            <ac:picMk id="15" creationId="{108A7306-D7EC-4F9D-9CC3-FE7A3D9DFAFB}"/>
          </ac:picMkLst>
        </pc:picChg>
      </pc:sldChg>
      <pc:sldChg chg="addSp delSp modSp add mod delAnim modAnim">
        <pc:chgData name="Michael Wiley" userId="c47109c9-80e8-471c-a0d8-79372bbb0a30" providerId="ADAL" clId="{A86B2854-18DB-4FC4-94BC-D2D791C5C4CE}" dt="2021-09-13T13:00:04.494" v="10102" actId="20577"/>
        <pc:sldMkLst>
          <pc:docMk/>
          <pc:sldMk cId="1857600075" sldId="1751"/>
        </pc:sldMkLst>
        <pc:spChg chg="add mod">
          <ac:chgData name="Michael Wiley" userId="c47109c9-80e8-471c-a0d8-79372bbb0a30" providerId="ADAL" clId="{A86B2854-18DB-4FC4-94BC-D2D791C5C4CE}" dt="2021-09-13T12:58:27.565" v="10092" actId="1076"/>
          <ac:spMkLst>
            <pc:docMk/>
            <pc:sldMk cId="1857600075" sldId="1751"/>
            <ac:spMk id="3" creationId="{17BD1628-9DFC-4AE5-B5A7-FB9BE57765CB}"/>
          </ac:spMkLst>
        </pc:spChg>
        <pc:spChg chg="add del mod">
          <ac:chgData name="Michael Wiley" userId="c47109c9-80e8-471c-a0d8-79372bbb0a30" providerId="ADAL" clId="{A86B2854-18DB-4FC4-94BC-D2D791C5C4CE}" dt="2021-09-13T12:48:31.662" v="9899" actId="478"/>
          <ac:spMkLst>
            <pc:docMk/>
            <pc:sldMk cId="1857600075" sldId="1751"/>
            <ac:spMk id="4" creationId="{36B60F5C-190A-4B21-8ABB-F064ADE8C1CE}"/>
          </ac:spMkLst>
        </pc:spChg>
        <pc:spChg chg="add mod">
          <ac:chgData name="Michael Wiley" userId="c47109c9-80e8-471c-a0d8-79372bbb0a30" providerId="ADAL" clId="{A86B2854-18DB-4FC4-94BC-D2D791C5C4CE}" dt="2021-09-13T12:58:27.565" v="10092" actId="1076"/>
          <ac:spMkLst>
            <pc:docMk/>
            <pc:sldMk cId="1857600075" sldId="1751"/>
            <ac:spMk id="4" creationId="{70C1CFD3-CF7E-462C-B776-F886775FFEB9}"/>
          </ac:spMkLst>
        </pc:spChg>
        <pc:spChg chg="add mod">
          <ac:chgData name="Michael Wiley" userId="c47109c9-80e8-471c-a0d8-79372bbb0a30" providerId="ADAL" clId="{A86B2854-18DB-4FC4-94BC-D2D791C5C4CE}" dt="2021-09-13T12:58:39.822" v="10094" actId="14100"/>
          <ac:spMkLst>
            <pc:docMk/>
            <pc:sldMk cId="1857600075" sldId="1751"/>
            <ac:spMk id="5" creationId="{028C0575-187A-4650-ADA1-64B9CB66B89C}"/>
          </ac:spMkLst>
        </pc:spChg>
        <pc:spChg chg="add mod">
          <ac:chgData name="Michael Wiley" userId="c47109c9-80e8-471c-a0d8-79372bbb0a30" providerId="ADAL" clId="{A86B2854-18DB-4FC4-94BC-D2D791C5C4CE}" dt="2021-09-13T12:58:27.565" v="10092" actId="1076"/>
          <ac:spMkLst>
            <pc:docMk/>
            <pc:sldMk cId="1857600075" sldId="1751"/>
            <ac:spMk id="6" creationId="{5AB369B3-4BB7-473C-96C7-4084A3A3D6E8}"/>
          </ac:spMkLst>
        </pc:spChg>
        <pc:spChg chg="add del">
          <ac:chgData name="Michael Wiley" userId="c47109c9-80e8-471c-a0d8-79372bbb0a30" providerId="ADAL" clId="{A86B2854-18DB-4FC4-94BC-D2D791C5C4CE}" dt="2021-09-13T12:49:59.185" v="9952" actId="22"/>
          <ac:spMkLst>
            <pc:docMk/>
            <pc:sldMk cId="1857600075" sldId="1751"/>
            <ac:spMk id="8" creationId="{F7E350EE-B0F1-4B00-8310-C2F2F01A9948}"/>
          </ac:spMkLst>
        </pc:spChg>
        <pc:spChg chg="add del mod">
          <ac:chgData name="Michael Wiley" userId="c47109c9-80e8-471c-a0d8-79372bbb0a30" providerId="ADAL" clId="{A86B2854-18DB-4FC4-94BC-D2D791C5C4CE}" dt="2021-09-13T12:49:57.865" v="9951" actId="22"/>
          <ac:spMkLst>
            <pc:docMk/>
            <pc:sldMk cId="1857600075" sldId="1751"/>
            <ac:spMk id="10" creationId="{71500980-0DD1-467B-955B-748F4A58D2A0}"/>
          </ac:spMkLst>
        </pc:spChg>
        <pc:spChg chg="add mod">
          <ac:chgData name="Michael Wiley" userId="c47109c9-80e8-471c-a0d8-79372bbb0a30" providerId="ADAL" clId="{A86B2854-18DB-4FC4-94BC-D2D791C5C4CE}" dt="2021-09-13T12:58:27.565" v="10092" actId="1076"/>
          <ac:spMkLst>
            <pc:docMk/>
            <pc:sldMk cId="1857600075" sldId="1751"/>
            <ac:spMk id="12" creationId="{787E219C-D0CC-479F-ACFC-845BD7297DC9}"/>
          </ac:spMkLst>
        </pc:spChg>
        <pc:spChg chg="add mod">
          <ac:chgData name="Michael Wiley" userId="c47109c9-80e8-471c-a0d8-79372bbb0a30" providerId="ADAL" clId="{A86B2854-18DB-4FC4-94BC-D2D791C5C4CE}" dt="2021-09-13T13:00:04.494" v="10102" actId="20577"/>
          <ac:spMkLst>
            <pc:docMk/>
            <pc:sldMk cId="1857600075" sldId="1751"/>
            <ac:spMk id="14" creationId="{C53A5CCE-28DC-4161-833B-A0C97956700C}"/>
          </ac:spMkLst>
        </pc:spChg>
        <pc:graphicFrameChg chg="del mod">
          <ac:chgData name="Michael Wiley" userId="c47109c9-80e8-471c-a0d8-79372bbb0a30" providerId="ADAL" clId="{A86B2854-18DB-4FC4-94BC-D2D791C5C4CE}" dt="2021-09-13T12:47:57.146" v="9897" actId="478"/>
          <ac:graphicFrameMkLst>
            <pc:docMk/>
            <pc:sldMk cId="1857600075" sldId="1751"/>
            <ac:graphicFrameMk id="5" creationId="{00000000-0000-0000-0000-000000000000}"/>
          </ac:graphicFrameMkLst>
        </pc:graphicFrameChg>
      </pc:sldChg>
      <pc:sldChg chg="addSp delSp modSp add del mod">
        <pc:chgData name="Michael Wiley" userId="c47109c9-80e8-471c-a0d8-79372bbb0a30" providerId="ADAL" clId="{A86B2854-18DB-4FC4-94BC-D2D791C5C4CE}" dt="2021-09-13T12:46:24.921" v="9895" actId="47"/>
        <pc:sldMkLst>
          <pc:docMk/>
          <pc:sldMk cId="1219175957" sldId="1752"/>
        </pc:sldMkLst>
        <pc:spChg chg="add del mod">
          <ac:chgData name="Michael Wiley" userId="c47109c9-80e8-471c-a0d8-79372bbb0a30" providerId="ADAL" clId="{A86B2854-18DB-4FC4-94BC-D2D791C5C4CE}" dt="2021-09-13T12:35:44.758" v="9858" actId="478"/>
          <ac:spMkLst>
            <pc:docMk/>
            <pc:sldMk cId="1219175957" sldId="1752"/>
            <ac:spMk id="3" creationId="{45BC23CA-2F1F-4FA7-9E25-922EDFA6FB3A}"/>
          </ac:spMkLst>
        </pc:spChg>
        <pc:spChg chg="mod">
          <ac:chgData name="Michael Wiley" userId="c47109c9-80e8-471c-a0d8-79372bbb0a30" providerId="ADAL" clId="{A86B2854-18DB-4FC4-94BC-D2D791C5C4CE}" dt="2021-09-13T12:35:35.572" v="9856" actId="20577"/>
          <ac:spMkLst>
            <pc:docMk/>
            <pc:sldMk cId="1219175957" sldId="1752"/>
            <ac:spMk id="4" creationId="{8E305106-E192-4EA8-9D85-A3F71E2BD859}"/>
          </ac:spMkLst>
        </pc:spChg>
        <pc:graphicFrameChg chg="add del mod modGraphic">
          <ac:chgData name="Michael Wiley" userId="c47109c9-80e8-471c-a0d8-79372bbb0a30" providerId="ADAL" clId="{A86B2854-18DB-4FC4-94BC-D2D791C5C4CE}" dt="2021-09-13T12:36:49.533" v="9861"/>
          <ac:graphicFrameMkLst>
            <pc:docMk/>
            <pc:sldMk cId="1219175957" sldId="1752"/>
            <ac:graphicFrameMk id="23" creationId="{2B541AB7-0DAC-4E33-80F9-A49CA728D14C}"/>
          </ac:graphicFrameMkLst>
        </pc:graphicFrameChg>
      </pc:sldChg>
      <pc:sldChg chg="addSp delSp modSp add del mod">
        <pc:chgData name="Michael Wiley" userId="c47109c9-80e8-471c-a0d8-79372bbb0a30" providerId="ADAL" clId="{A86B2854-18DB-4FC4-94BC-D2D791C5C4CE}" dt="2021-09-13T12:46:20.119" v="9894" actId="47"/>
        <pc:sldMkLst>
          <pc:docMk/>
          <pc:sldMk cId="1502214880" sldId="4246"/>
        </pc:sldMkLst>
        <pc:spChg chg="mod">
          <ac:chgData name="Michael Wiley" userId="c47109c9-80e8-471c-a0d8-79372bbb0a30" providerId="ADAL" clId="{A86B2854-18DB-4FC4-94BC-D2D791C5C4CE}" dt="2021-09-13T12:41:27.217" v="9863" actId="120"/>
          <ac:spMkLst>
            <pc:docMk/>
            <pc:sldMk cId="1502214880" sldId="4246"/>
            <ac:spMk id="3" creationId="{BA1122A1-DE08-4094-A84A-764EE453843D}"/>
          </ac:spMkLst>
        </pc:spChg>
        <pc:spChg chg="mod">
          <ac:chgData name="Michael Wiley" userId="c47109c9-80e8-471c-a0d8-79372bbb0a30" providerId="ADAL" clId="{A86B2854-18DB-4FC4-94BC-D2D791C5C4CE}" dt="2021-09-13T12:43:52.051" v="9881" actId="14100"/>
          <ac:spMkLst>
            <pc:docMk/>
            <pc:sldMk cId="1502214880" sldId="4246"/>
            <ac:spMk id="5" creationId="{127393E9-D32D-448D-B8A0-F6BCEEC654EF}"/>
          </ac:spMkLst>
        </pc:spChg>
        <pc:spChg chg="mod">
          <ac:chgData name="Michael Wiley" userId="c47109c9-80e8-471c-a0d8-79372bbb0a30" providerId="ADAL" clId="{A86B2854-18DB-4FC4-94BC-D2D791C5C4CE}" dt="2021-09-13T12:43:52.051" v="9881" actId="14100"/>
          <ac:spMkLst>
            <pc:docMk/>
            <pc:sldMk cId="1502214880" sldId="4246"/>
            <ac:spMk id="6" creationId="{776BF268-C29C-42D7-B762-E7E9910880F5}"/>
          </ac:spMkLst>
        </pc:spChg>
        <pc:spChg chg="mod">
          <ac:chgData name="Michael Wiley" userId="c47109c9-80e8-471c-a0d8-79372bbb0a30" providerId="ADAL" clId="{A86B2854-18DB-4FC4-94BC-D2D791C5C4CE}" dt="2021-09-13T12:43:52.051" v="9881" actId="14100"/>
          <ac:spMkLst>
            <pc:docMk/>
            <pc:sldMk cId="1502214880" sldId="4246"/>
            <ac:spMk id="7" creationId="{999DE885-C19C-42E0-A924-35E61ABEED4D}"/>
          </ac:spMkLst>
        </pc:spChg>
        <pc:spChg chg="mod">
          <ac:chgData name="Michael Wiley" userId="c47109c9-80e8-471c-a0d8-79372bbb0a30" providerId="ADAL" clId="{A86B2854-18DB-4FC4-94BC-D2D791C5C4CE}" dt="2021-09-13T12:43:52.051" v="9881" actId="14100"/>
          <ac:spMkLst>
            <pc:docMk/>
            <pc:sldMk cId="1502214880" sldId="4246"/>
            <ac:spMk id="8" creationId="{BCE2E564-B123-4505-A8AB-445C8D287A00}"/>
          </ac:spMkLst>
        </pc:spChg>
        <pc:spChg chg="del mod">
          <ac:chgData name="Michael Wiley" userId="c47109c9-80e8-471c-a0d8-79372bbb0a30" providerId="ADAL" clId="{A86B2854-18DB-4FC4-94BC-D2D791C5C4CE}" dt="2021-09-13T12:44:11.956" v="9885" actId="478"/>
          <ac:spMkLst>
            <pc:docMk/>
            <pc:sldMk cId="1502214880" sldId="4246"/>
            <ac:spMk id="9" creationId="{B877EC21-FCB0-47FC-8E8D-AEF2CFB8858B}"/>
          </ac:spMkLst>
        </pc:spChg>
        <pc:spChg chg="del mod">
          <ac:chgData name="Michael Wiley" userId="c47109c9-80e8-471c-a0d8-79372bbb0a30" providerId="ADAL" clId="{A86B2854-18DB-4FC4-94BC-D2D791C5C4CE}" dt="2021-09-13T12:43:19.376" v="9873" actId="478"/>
          <ac:spMkLst>
            <pc:docMk/>
            <pc:sldMk cId="1502214880" sldId="4246"/>
            <ac:spMk id="10" creationId="{C56BA69B-5DD0-49E8-986D-02948DDC5998}"/>
          </ac:spMkLst>
        </pc:spChg>
        <pc:spChg chg="mod">
          <ac:chgData name="Michael Wiley" userId="c47109c9-80e8-471c-a0d8-79372bbb0a30" providerId="ADAL" clId="{A86B2854-18DB-4FC4-94BC-D2D791C5C4CE}" dt="2021-09-13T12:43:52.051" v="9881" actId="14100"/>
          <ac:spMkLst>
            <pc:docMk/>
            <pc:sldMk cId="1502214880" sldId="4246"/>
            <ac:spMk id="15" creationId="{E9580C32-C743-47FB-A864-3075A7D479FF}"/>
          </ac:spMkLst>
        </pc:spChg>
        <pc:spChg chg="add del mod">
          <ac:chgData name="Michael Wiley" userId="c47109c9-80e8-471c-a0d8-79372bbb0a30" providerId="ADAL" clId="{A86B2854-18DB-4FC4-94BC-D2D791C5C4CE}" dt="2021-09-13T12:43:52.051" v="9881" actId="14100"/>
          <ac:spMkLst>
            <pc:docMk/>
            <pc:sldMk cId="1502214880" sldId="4246"/>
            <ac:spMk id="16" creationId="{A050E7A1-886A-44B7-9709-2E1AB08457AF}"/>
          </ac:spMkLst>
        </pc:spChg>
        <pc:spChg chg="mod">
          <ac:chgData name="Michael Wiley" userId="c47109c9-80e8-471c-a0d8-79372bbb0a30" providerId="ADAL" clId="{A86B2854-18DB-4FC4-94BC-D2D791C5C4CE}" dt="2021-09-13T12:44:41.662" v="9887" actId="14100"/>
          <ac:spMkLst>
            <pc:docMk/>
            <pc:sldMk cId="1502214880" sldId="4246"/>
            <ac:spMk id="17" creationId="{03CF1BE3-683E-4F60-B417-BEBF1317A422}"/>
          </ac:spMkLst>
        </pc:spChg>
        <pc:spChg chg="del mod">
          <ac:chgData name="Michael Wiley" userId="c47109c9-80e8-471c-a0d8-79372bbb0a30" providerId="ADAL" clId="{A86B2854-18DB-4FC4-94BC-D2D791C5C4CE}" dt="2021-09-13T12:43:35.979" v="9877" actId="478"/>
          <ac:spMkLst>
            <pc:docMk/>
            <pc:sldMk cId="1502214880" sldId="4246"/>
            <ac:spMk id="18" creationId="{6D33C0EB-7EDC-4F8B-A8AD-14BA60226415}"/>
          </ac:spMkLst>
        </pc:spChg>
        <pc:spChg chg="del mod">
          <ac:chgData name="Michael Wiley" userId="c47109c9-80e8-471c-a0d8-79372bbb0a30" providerId="ADAL" clId="{A86B2854-18DB-4FC4-94BC-D2D791C5C4CE}" dt="2021-09-13T12:43:29.215" v="9876" actId="478"/>
          <ac:spMkLst>
            <pc:docMk/>
            <pc:sldMk cId="1502214880" sldId="4246"/>
            <ac:spMk id="19" creationId="{8BED2532-2DF2-430D-AF3E-578D11EB6397}"/>
          </ac:spMkLst>
        </pc:spChg>
        <pc:spChg chg="mod">
          <ac:chgData name="Michael Wiley" userId="c47109c9-80e8-471c-a0d8-79372bbb0a30" providerId="ADAL" clId="{A86B2854-18DB-4FC4-94BC-D2D791C5C4CE}" dt="2021-09-13T12:43:52.051" v="9881" actId="14100"/>
          <ac:spMkLst>
            <pc:docMk/>
            <pc:sldMk cId="1502214880" sldId="4246"/>
            <ac:spMk id="23" creationId="{21E28C95-5401-406F-93C0-95C8252DB6AD}"/>
          </ac:spMkLst>
        </pc:spChg>
        <pc:spChg chg="mod">
          <ac:chgData name="Michael Wiley" userId="c47109c9-80e8-471c-a0d8-79372bbb0a30" providerId="ADAL" clId="{A86B2854-18DB-4FC4-94BC-D2D791C5C4CE}" dt="2021-09-13T12:43:52.051" v="9881" actId="14100"/>
          <ac:spMkLst>
            <pc:docMk/>
            <pc:sldMk cId="1502214880" sldId="4246"/>
            <ac:spMk id="24" creationId="{C9CE07B9-0D49-4E82-A691-BFBC4272FB83}"/>
          </ac:spMkLst>
        </pc:spChg>
        <pc:spChg chg="del mod">
          <ac:chgData name="Michael Wiley" userId="c47109c9-80e8-471c-a0d8-79372bbb0a30" providerId="ADAL" clId="{A86B2854-18DB-4FC4-94BC-D2D791C5C4CE}" dt="2021-09-13T12:44:48.558" v="9888" actId="478"/>
          <ac:spMkLst>
            <pc:docMk/>
            <pc:sldMk cId="1502214880" sldId="4246"/>
            <ac:spMk id="27" creationId="{B8E04C8E-BFA0-49C4-A145-CB5233E1D498}"/>
          </ac:spMkLst>
        </pc:spChg>
        <pc:spChg chg="mod">
          <ac:chgData name="Michael Wiley" userId="c47109c9-80e8-471c-a0d8-79372bbb0a30" providerId="ADAL" clId="{A86B2854-18DB-4FC4-94BC-D2D791C5C4CE}" dt="2021-09-13T12:43:52.051" v="9881" actId="14100"/>
          <ac:spMkLst>
            <pc:docMk/>
            <pc:sldMk cId="1502214880" sldId="4246"/>
            <ac:spMk id="31" creationId="{B2A24984-2EDC-42B6-934F-9F722336F3BB}"/>
          </ac:spMkLst>
        </pc:spChg>
        <pc:spChg chg="mod">
          <ac:chgData name="Michael Wiley" userId="c47109c9-80e8-471c-a0d8-79372bbb0a30" providerId="ADAL" clId="{A86B2854-18DB-4FC4-94BC-D2D791C5C4CE}" dt="2021-09-13T12:43:52.051" v="9881" actId="14100"/>
          <ac:spMkLst>
            <pc:docMk/>
            <pc:sldMk cId="1502214880" sldId="4246"/>
            <ac:spMk id="37" creationId="{F1D26010-3CF7-4805-B30A-E599F9C39A85}"/>
          </ac:spMkLst>
        </pc:spChg>
        <pc:spChg chg="add del mod">
          <ac:chgData name="Michael Wiley" userId="c47109c9-80e8-471c-a0d8-79372bbb0a30" providerId="ADAL" clId="{A86B2854-18DB-4FC4-94BC-D2D791C5C4CE}" dt="2021-09-13T12:46:14.105" v="9893" actId="478"/>
          <ac:spMkLst>
            <pc:docMk/>
            <pc:sldMk cId="1502214880" sldId="4246"/>
            <ac:spMk id="42" creationId="{64C30A8D-91DD-4159-B84F-9E82D6AF5EB6}"/>
          </ac:spMkLst>
        </pc:spChg>
        <pc:spChg chg="mod">
          <ac:chgData name="Michael Wiley" userId="c47109c9-80e8-471c-a0d8-79372bbb0a30" providerId="ADAL" clId="{A86B2854-18DB-4FC4-94BC-D2D791C5C4CE}" dt="2021-09-13T12:46:14.105" v="9893" actId="478"/>
          <ac:spMkLst>
            <pc:docMk/>
            <pc:sldMk cId="1502214880" sldId="4246"/>
            <ac:spMk id="43" creationId="{037CC86B-122B-42BB-BAA8-85FB438F9E62}"/>
          </ac:spMkLst>
        </pc:spChg>
        <pc:spChg chg="mod">
          <ac:chgData name="Michael Wiley" userId="c47109c9-80e8-471c-a0d8-79372bbb0a30" providerId="ADAL" clId="{A86B2854-18DB-4FC4-94BC-D2D791C5C4CE}" dt="2021-09-13T12:43:52.051" v="9881" actId="14100"/>
          <ac:spMkLst>
            <pc:docMk/>
            <pc:sldMk cId="1502214880" sldId="4246"/>
            <ac:spMk id="45" creationId="{09A53290-0A77-412E-A046-3B00864936DE}"/>
          </ac:spMkLst>
        </pc:spChg>
        <pc:spChg chg="mod">
          <ac:chgData name="Michael Wiley" userId="c47109c9-80e8-471c-a0d8-79372bbb0a30" providerId="ADAL" clId="{A86B2854-18DB-4FC4-94BC-D2D791C5C4CE}" dt="2021-09-13T12:43:52.051" v="9881" actId="14100"/>
          <ac:spMkLst>
            <pc:docMk/>
            <pc:sldMk cId="1502214880" sldId="4246"/>
            <ac:spMk id="48" creationId="{45F7769B-F2BF-4F05-8BE2-E63889BE597D}"/>
          </ac:spMkLst>
        </pc:spChg>
        <pc:spChg chg="mod">
          <ac:chgData name="Michael Wiley" userId="c47109c9-80e8-471c-a0d8-79372bbb0a30" providerId="ADAL" clId="{A86B2854-18DB-4FC4-94BC-D2D791C5C4CE}" dt="2021-09-13T12:43:52.051" v="9881" actId="14100"/>
          <ac:spMkLst>
            <pc:docMk/>
            <pc:sldMk cId="1502214880" sldId="4246"/>
            <ac:spMk id="51" creationId="{71A2CDBA-5B84-4C75-A9D6-2CBAD6C21048}"/>
          </ac:spMkLst>
        </pc:spChg>
        <pc:spChg chg="mod">
          <ac:chgData name="Michael Wiley" userId="c47109c9-80e8-471c-a0d8-79372bbb0a30" providerId="ADAL" clId="{A86B2854-18DB-4FC4-94BC-D2D791C5C4CE}" dt="2021-09-13T12:43:52.051" v="9881" actId="14100"/>
          <ac:spMkLst>
            <pc:docMk/>
            <pc:sldMk cId="1502214880" sldId="4246"/>
            <ac:spMk id="54" creationId="{DEEA8ACA-D9F5-442D-B4B4-3866141C49DA}"/>
          </ac:spMkLst>
        </pc:spChg>
        <pc:spChg chg="mod">
          <ac:chgData name="Michael Wiley" userId="c47109c9-80e8-471c-a0d8-79372bbb0a30" providerId="ADAL" clId="{A86B2854-18DB-4FC4-94BC-D2D791C5C4CE}" dt="2021-09-13T12:43:52.051" v="9881" actId="14100"/>
          <ac:spMkLst>
            <pc:docMk/>
            <pc:sldMk cId="1502214880" sldId="4246"/>
            <ac:spMk id="55" creationId="{7D284138-373C-4E4E-BA74-6E2F49B23F7A}"/>
          </ac:spMkLst>
        </pc:spChg>
        <pc:spChg chg="mod">
          <ac:chgData name="Michael Wiley" userId="c47109c9-80e8-471c-a0d8-79372bbb0a30" providerId="ADAL" clId="{A86B2854-18DB-4FC4-94BC-D2D791C5C4CE}" dt="2021-09-13T12:43:52.544" v="9882" actId="14100"/>
          <ac:spMkLst>
            <pc:docMk/>
            <pc:sldMk cId="1502214880" sldId="4246"/>
            <ac:spMk id="60" creationId="{999F8B9B-18CC-47A6-A224-9BA1366CE656}"/>
          </ac:spMkLst>
        </pc:spChg>
        <pc:grpChg chg="add del mod">
          <ac:chgData name="Michael Wiley" userId="c47109c9-80e8-471c-a0d8-79372bbb0a30" providerId="ADAL" clId="{A86B2854-18DB-4FC4-94BC-D2D791C5C4CE}" dt="2021-09-13T12:43:29.215" v="9876" actId="478"/>
          <ac:grpSpMkLst>
            <pc:docMk/>
            <pc:sldMk cId="1502214880" sldId="4246"/>
            <ac:grpSpMk id="2" creationId="{3EF9820A-8796-4C3E-AE81-24337B62A837}"/>
          </ac:grpSpMkLst>
        </pc:grpChg>
        <pc:grpChg chg="del mod">
          <ac:chgData name="Michael Wiley" userId="c47109c9-80e8-471c-a0d8-79372bbb0a30" providerId="ADAL" clId="{A86B2854-18DB-4FC4-94BC-D2D791C5C4CE}" dt="2021-09-13T12:43:35.979" v="9877" actId="478"/>
          <ac:grpSpMkLst>
            <pc:docMk/>
            <pc:sldMk cId="1502214880" sldId="4246"/>
            <ac:grpSpMk id="4" creationId="{25E5BA22-75D6-4194-957C-57A544530973}"/>
          </ac:grpSpMkLst>
        </pc:grpChg>
        <pc:grpChg chg="del mod">
          <ac:chgData name="Michael Wiley" userId="c47109c9-80e8-471c-a0d8-79372bbb0a30" providerId="ADAL" clId="{A86B2854-18DB-4FC4-94BC-D2D791C5C4CE}" dt="2021-09-13T12:44:11.956" v="9885" actId="478"/>
          <ac:grpSpMkLst>
            <pc:docMk/>
            <pc:sldMk cId="1502214880" sldId="4246"/>
            <ac:grpSpMk id="11" creationId="{B7A01B23-DFD2-4B8B-AFE8-83649FBA443C}"/>
          </ac:grpSpMkLst>
        </pc:grpChg>
        <pc:grpChg chg="del mod">
          <ac:chgData name="Michael Wiley" userId="c47109c9-80e8-471c-a0d8-79372bbb0a30" providerId="ADAL" clId="{A86B2854-18DB-4FC4-94BC-D2D791C5C4CE}" dt="2021-09-13T12:43:19.376" v="9873" actId="478"/>
          <ac:grpSpMkLst>
            <pc:docMk/>
            <pc:sldMk cId="1502214880" sldId="4246"/>
            <ac:grpSpMk id="13" creationId="{5ACC18E9-6779-4F0D-A0B7-59C5A8884D55}"/>
          </ac:grpSpMkLst>
        </pc:grpChg>
        <pc:grpChg chg="add del mod">
          <ac:chgData name="Michael Wiley" userId="c47109c9-80e8-471c-a0d8-79372bbb0a30" providerId="ADAL" clId="{A86B2854-18DB-4FC4-94BC-D2D791C5C4CE}" dt="2021-09-13T12:46:14.105" v="9893" actId="478"/>
          <ac:grpSpMkLst>
            <pc:docMk/>
            <pc:sldMk cId="1502214880" sldId="4246"/>
            <ac:grpSpMk id="40" creationId="{EA1F2ADF-D70C-4258-9DDA-6BD2C1C55FC8}"/>
          </ac:grpSpMkLst>
        </pc:grpChg>
        <pc:grpChg chg="del mod">
          <ac:chgData name="Michael Wiley" userId="c47109c9-80e8-471c-a0d8-79372bbb0a30" providerId="ADAL" clId="{A86B2854-18DB-4FC4-94BC-D2D791C5C4CE}" dt="2021-09-13T12:44:48.558" v="9888" actId="478"/>
          <ac:grpSpMkLst>
            <pc:docMk/>
            <pc:sldMk cId="1502214880" sldId="4246"/>
            <ac:grpSpMk id="44" creationId="{B3EA2EEB-1049-4E24-83AB-DE0647D17AB8}"/>
          </ac:grpSpMkLst>
        </pc:grpChg>
        <pc:grpChg chg="mod">
          <ac:chgData name="Michael Wiley" userId="c47109c9-80e8-471c-a0d8-79372bbb0a30" providerId="ADAL" clId="{A86B2854-18DB-4FC4-94BC-D2D791C5C4CE}" dt="2021-09-13T12:43:52.051" v="9881" actId="14100"/>
          <ac:grpSpMkLst>
            <pc:docMk/>
            <pc:sldMk cId="1502214880" sldId="4246"/>
            <ac:grpSpMk id="46" creationId="{444D6415-3660-446D-9A00-2196811F82E9}"/>
          </ac:grpSpMkLst>
        </pc:grpChg>
        <pc:grpChg chg="mod">
          <ac:chgData name="Michael Wiley" userId="c47109c9-80e8-471c-a0d8-79372bbb0a30" providerId="ADAL" clId="{A86B2854-18DB-4FC4-94BC-D2D791C5C4CE}" dt="2021-09-13T12:43:52.051" v="9881" actId="14100"/>
          <ac:grpSpMkLst>
            <pc:docMk/>
            <pc:sldMk cId="1502214880" sldId="4246"/>
            <ac:grpSpMk id="47" creationId="{73669327-F843-44FB-AC45-E035BD5A24DC}"/>
          </ac:grpSpMkLst>
        </pc:grpChg>
        <pc:grpChg chg="mod">
          <ac:chgData name="Michael Wiley" userId="c47109c9-80e8-471c-a0d8-79372bbb0a30" providerId="ADAL" clId="{A86B2854-18DB-4FC4-94BC-D2D791C5C4CE}" dt="2021-09-13T12:43:52.051" v="9881" actId="14100"/>
          <ac:grpSpMkLst>
            <pc:docMk/>
            <pc:sldMk cId="1502214880" sldId="4246"/>
            <ac:grpSpMk id="56" creationId="{2DB63F0F-0EFE-4FB5-B070-C75C4314F9CA}"/>
          </ac:grpSpMkLst>
        </pc:grpChg>
        <pc:grpChg chg="mod">
          <ac:chgData name="Michael Wiley" userId="c47109c9-80e8-471c-a0d8-79372bbb0a30" providerId="ADAL" clId="{A86B2854-18DB-4FC4-94BC-D2D791C5C4CE}" dt="2021-09-13T12:43:52.051" v="9881" actId="14100"/>
          <ac:grpSpMkLst>
            <pc:docMk/>
            <pc:sldMk cId="1502214880" sldId="4246"/>
            <ac:grpSpMk id="57" creationId="{02218E9C-5FE7-4643-A23D-439DBFA7DD31}"/>
          </ac:grpSpMkLst>
        </pc:grpChg>
        <pc:grpChg chg="mod">
          <ac:chgData name="Michael Wiley" userId="c47109c9-80e8-471c-a0d8-79372bbb0a30" providerId="ADAL" clId="{A86B2854-18DB-4FC4-94BC-D2D791C5C4CE}" dt="2021-09-13T12:43:52.051" v="9881" actId="14100"/>
          <ac:grpSpMkLst>
            <pc:docMk/>
            <pc:sldMk cId="1502214880" sldId="4246"/>
            <ac:grpSpMk id="59" creationId="{3B0F5561-3E9E-445A-8145-3A7EC85941E2}"/>
          </ac:grpSpMkLst>
        </pc:grpChg>
        <pc:grpChg chg="mod">
          <ac:chgData name="Michael Wiley" userId="c47109c9-80e8-471c-a0d8-79372bbb0a30" providerId="ADAL" clId="{A86B2854-18DB-4FC4-94BC-D2D791C5C4CE}" dt="2021-09-13T12:43:52.051" v="9881" actId="14100"/>
          <ac:grpSpMkLst>
            <pc:docMk/>
            <pc:sldMk cId="1502214880" sldId="4246"/>
            <ac:grpSpMk id="61" creationId="{977C1C10-F166-428B-98D5-1F272E8B93F0}"/>
          </ac:grpSpMkLst>
        </pc:grpChg>
        <pc:grpChg chg="mod">
          <ac:chgData name="Michael Wiley" userId="c47109c9-80e8-471c-a0d8-79372bbb0a30" providerId="ADAL" clId="{A86B2854-18DB-4FC4-94BC-D2D791C5C4CE}" dt="2021-09-13T12:43:52.051" v="9881" actId="14100"/>
          <ac:grpSpMkLst>
            <pc:docMk/>
            <pc:sldMk cId="1502214880" sldId="4246"/>
            <ac:grpSpMk id="62" creationId="{DC6543ED-4B7F-4BC8-9E39-D7CD5AC2BC0D}"/>
          </ac:grpSpMkLst>
        </pc:grpChg>
        <pc:grpChg chg="mod">
          <ac:chgData name="Michael Wiley" userId="c47109c9-80e8-471c-a0d8-79372bbb0a30" providerId="ADAL" clId="{A86B2854-18DB-4FC4-94BC-D2D791C5C4CE}" dt="2021-09-13T12:43:52.051" v="9881" actId="14100"/>
          <ac:grpSpMkLst>
            <pc:docMk/>
            <pc:sldMk cId="1502214880" sldId="4246"/>
            <ac:grpSpMk id="63" creationId="{E4B355F6-80DF-4F9D-9B39-22D7BC24142D}"/>
          </ac:grpSpMkLst>
        </pc:grpChg>
        <pc:grpChg chg="mod">
          <ac:chgData name="Michael Wiley" userId="c47109c9-80e8-471c-a0d8-79372bbb0a30" providerId="ADAL" clId="{A86B2854-18DB-4FC4-94BC-D2D791C5C4CE}" dt="2021-09-13T12:43:52.051" v="9881" actId="14100"/>
          <ac:grpSpMkLst>
            <pc:docMk/>
            <pc:sldMk cId="1502214880" sldId="4246"/>
            <ac:grpSpMk id="64" creationId="{E0C2E3FE-FCA1-406D-AB18-FA67BF639C31}"/>
          </ac:grpSpMkLst>
        </pc:grpChg>
        <pc:grpChg chg="mod">
          <ac:chgData name="Michael Wiley" userId="c47109c9-80e8-471c-a0d8-79372bbb0a30" providerId="ADAL" clId="{A86B2854-18DB-4FC4-94BC-D2D791C5C4CE}" dt="2021-09-13T12:43:52.051" v="9881" actId="14100"/>
          <ac:grpSpMkLst>
            <pc:docMk/>
            <pc:sldMk cId="1502214880" sldId="4246"/>
            <ac:grpSpMk id="65" creationId="{86A826BB-90C0-4ECF-8A1A-856C50762097}"/>
          </ac:grpSpMkLst>
        </pc:grpChg>
        <pc:grpChg chg="del mod">
          <ac:chgData name="Michael Wiley" userId="c47109c9-80e8-471c-a0d8-79372bbb0a30" providerId="ADAL" clId="{A86B2854-18DB-4FC4-94BC-D2D791C5C4CE}" dt="2021-09-13T12:44:51.895" v="9889" actId="478"/>
          <ac:grpSpMkLst>
            <pc:docMk/>
            <pc:sldMk cId="1502214880" sldId="4246"/>
            <ac:grpSpMk id="66" creationId="{A7823E39-3E79-44EF-9B06-A6E8BC220E6A}"/>
          </ac:grpSpMkLst>
        </pc:grpChg>
        <pc:grpChg chg="mod">
          <ac:chgData name="Michael Wiley" userId="c47109c9-80e8-471c-a0d8-79372bbb0a30" providerId="ADAL" clId="{A86B2854-18DB-4FC4-94BC-D2D791C5C4CE}" dt="2021-09-13T12:43:52.051" v="9881" actId="14100"/>
          <ac:grpSpMkLst>
            <pc:docMk/>
            <pc:sldMk cId="1502214880" sldId="4246"/>
            <ac:grpSpMk id="67" creationId="{F2FA54C5-4BFE-4306-AB8F-E41EFB5EC12C}"/>
          </ac:grpSpMkLst>
        </pc:grpChg>
        <pc:grpChg chg="mod">
          <ac:chgData name="Michael Wiley" userId="c47109c9-80e8-471c-a0d8-79372bbb0a30" providerId="ADAL" clId="{A86B2854-18DB-4FC4-94BC-D2D791C5C4CE}" dt="2021-09-13T12:43:52.051" v="9881" actId="14100"/>
          <ac:grpSpMkLst>
            <pc:docMk/>
            <pc:sldMk cId="1502214880" sldId="4246"/>
            <ac:grpSpMk id="68" creationId="{742CFEB4-49D8-47E2-BD26-CF20E1D34EDC}"/>
          </ac:grpSpMkLst>
        </pc:grpChg>
        <pc:grpChg chg="mod">
          <ac:chgData name="Michael Wiley" userId="c47109c9-80e8-471c-a0d8-79372bbb0a30" providerId="ADAL" clId="{A86B2854-18DB-4FC4-94BC-D2D791C5C4CE}" dt="2021-09-13T12:43:52.051" v="9881" actId="14100"/>
          <ac:grpSpMkLst>
            <pc:docMk/>
            <pc:sldMk cId="1502214880" sldId="4246"/>
            <ac:grpSpMk id="69" creationId="{284FBE47-7787-4337-AB5E-827736368D75}"/>
          </ac:grpSpMkLst>
        </pc:grpChg>
        <pc:grpChg chg="mod">
          <ac:chgData name="Michael Wiley" userId="c47109c9-80e8-471c-a0d8-79372bbb0a30" providerId="ADAL" clId="{A86B2854-18DB-4FC4-94BC-D2D791C5C4CE}" dt="2021-09-13T12:43:52.051" v="9881" actId="14100"/>
          <ac:grpSpMkLst>
            <pc:docMk/>
            <pc:sldMk cId="1502214880" sldId="4246"/>
            <ac:grpSpMk id="70" creationId="{C88750DD-CB20-479D-AE75-6679EE38F5EC}"/>
          </ac:grpSpMkLst>
        </pc:grpChg>
        <pc:picChg chg="del mod">
          <ac:chgData name="Michael Wiley" userId="c47109c9-80e8-471c-a0d8-79372bbb0a30" providerId="ADAL" clId="{A86B2854-18DB-4FC4-94BC-D2D791C5C4CE}" dt="2021-09-13T12:44:51.895" v="9889" actId="478"/>
          <ac:picMkLst>
            <pc:docMk/>
            <pc:sldMk cId="1502214880" sldId="4246"/>
            <ac:picMk id="29" creationId="{83679081-3EC8-4A70-ADD9-B68A197CF14A}"/>
          </ac:picMkLst>
        </pc:picChg>
        <pc:picChg chg="mod">
          <ac:chgData name="Michael Wiley" userId="c47109c9-80e8-471c-a0d8-79372bbb0a30" providerId="ADAL" clId="{A86B2854-18DB-4FC4-94BC-D2D791C5C4CE}" dt="2021-09-13T12:43:52.051" v="9881" actId="14100"/>
          <ac:picMkLst>
            <pc:docMk/>
            <pc:sldMk cId="1502214880" sldId="4246"/>
            <ac:picMk id="32" creationId="{C4C681CE-9634-466F-9DFA-64A8CEF32D1B}"/>
          </ac:picMkLst>
        </pc:picChg>
        <pc:picChg chg="mod">
          <ac:chgData name="Michael Wiley" userId="c47109c9-80e8-471c-a0d8-79372bbb0a30" providerId="ADAL" clId="{A86B2854-18DB-4FC4-94BC-D2D791C5C4CE}" dt="2021-09-13T12:43:52.051" v="9881" actId="14100"/>
          <ac:picMkLst>
            <pc:docMk/>
            <pc:sldMk cId="1502214880" sldId="4246"/>
            <ac:picMk id="38" creationId="{17623649-CC77-4CCA-B1C0-6CC5EFB8DFD7}"/>
          </ac:picMkLst>
        </pc:picChg>
        <pc:picChg chg="mod">
          <ac:chgData name="Michael Wiley" userId="c47109c9-80e8-471c-a0d8-79372bbb0a30" providerId="ADAL" clId="{A86B2854-18DB-4FC4-94BC-D2D791C5C4CE}" dt="2021-09-13T12:43:52.051" v="9881" actId="14100"/>
          <ac:picMkLst>
            <pc:docMk/>
            <pc:sldMk cId="1502214880" sldId="4246"/>
            <ac:picMk id="49" creationId="{B8797526-E151-4B91-B177-01CF43B0AB84}"/>
          </ac:picMkLst>
        </pc:picChg>
        <pc:picChg chg="mod">
          <ac:chgData name="Michael Wiley" userId="c47109c9-80e8-471c-a0d8-79372bbb0a30" providerId="ADAL" clId="{A86B2854-18DB-4FC4-94BC-D2D791C5C4CE}" dt="2021-09-13T12:43:52.051" v="9881" actId="14100"/>
          <ac:picMkLst>
            <pc:docMk/>
            <pc:sldMk cId="1502214880" sldId="4246"/>
            <ac:picMk id="52" creationId="{A72DE3B3-E4EF-432E-B142-3694D2F413AD}"/>
          </ac:picMkLst>
        </pc:picChg>
        <pc:cxnChg chg="mod">
          <ac:chgData name="Michael Wiley" userId="c47109c9-80e8-471c-a0d8-79372bbb0a30" providerId="ADAL" clId="{A86B2854-18DB-4FC4-94BC-D2D791C5C4CE}" dt="2021-09-13T12:43:52.051" v="9881" actId="14100"/>
          <ac:cxnSpMkLst>
            <pc:docMk/>
            <pc:sldMk cId="1502214880" sldId="4246"/>
            <ac:cxnSpMk id="12" creationId="{74C4651C-A718-4BBA-B991-B688512A70CE}"/>
          </ac:cxnSpMkLst>
        </pc:cxnChg>
        <pc:cxnChg chg="mod">
          <ac:chgData name="Michael Wiley" userId="c47109c9-80e8-471c-a0d8-79372bbb0a30" providerId="ADAL" clId="{A86B2854-18DB-4FC4-94BC-D2D791C5C4CE}" dt="2021-09-13T12:44:41.662" v="9887" actId="14100"/>
          <ac:cxnSpMkLst>
            <pc:docMk/>
            <pc:sldMk cId="1502214880" sldId="4246"/>
            <ac:cxnSpMk id="20" creationId="{36EDE1FA-10CF-4360-BB80-661B26A3E415}"/>
          </ac:cxnSpMkLst>
        </pc:cxnChg>
        <pc:cxnChg chg="mod">
          <ac:chgData name="Michael Wiley" userId="c47109c9-80e8-471c-a0d8-79372bbb0a30" providerId="ADAL" clId="{A86B2854-18DB-4FC4-94BC-D2D791C5C4CE}" dt="2021-09-13T12:44:11.956" v="9885" actId="478"/>
          <ac:cxnSpMkLst>
            <pc:docMk/>
            <pc:sldMk cId="1502214880" sldId="4246"/>
            <ac:cxnSpMk id="26" creationId="{112FC88B-02ED-47CF-A222-40A7DA4EB677}"/>
          </ac:cxnSpMkLst>
        </pc:cxnChg>
        <pc:cxnChg chg="mod">
          <ac:chgData name="Michael Wiley" userId="c47109c9-80e8-471c-a0d8-79372bbb0a30" providerId="ADAL" clId="{A86B2854-18DB-4FC4-94BC-D2D791C5C4CE}" dt="2021-09-13T12:43:52.051" v="9881" actId="14100"/>
          <ac:cxnSpMkLst>
            <pc:docMk/>
            <pc:sldMk cId="1502214880" sldId="4246"/>
            <ac:cxnSpMk id="28" creationId="{B4A41001-7B70-4AA0-82A8-3E95505EB656}"/>
          </ac:cxnSpMkLst>
        </pc:cxnChg>
        <pc:cxnChg chg="mod">
          <ac:chgData name="Michael Wiley" userId="c47109c9-80e8-471c-a0d8-79372bbb0a30" providerId="ADAL" clId="{A86B2854-18DB-4FC4-94BC-D2D791C5C4CE}" dt="2021-09-13T12:43:52.051" v="9881" actId="14100"/>
          <ac:cxnSpMkLst>
            <pc:docMk/>
            <pc:sldMk cId="1502214880" sldId="4246"/>
            <ac:cxnSpMk id="58" creationId="{612B0BCD-2F2E-4370-9BA2-56903862AC15}"/>
          </ac:cxnSpMkLst>
        </pc:cxnChg>
      </pc:sldChg>
      <pc:sldMasterChg chg="delSldLayout">
        <pc:chgData name="Michael Wiley" userId="c47109c9-80e8-471c-a0d8-79372bbb0a30" providerId="ADAL" clId="{A86B2854-18DB-4FC4-94BC-D2D791C5C4CE}" dt="2021-09-13T12:58:57.312" v="10095" actId="47"/>
        <pc:sldMasterMkLst>
          <pc:docMk/>
          <pc:sldMasterMk cId="3512787155" sldId="2147483764"/>
        </pc:sldMasterMkLst>
        <pc:sldLayoutChg chg="del">
          <pc:chgData name="Michael Wiley" userId="c47109c9-80e8-471c-a0d8-79372bbb0a30" providerId="ADAL" clId="{A86B2854-18DB-4FC4-94BC-D2D791C5C4CE}" dt="2021-09-13T12:58:57.312" v="10095" actId="47"/>
          <pc:sldLayoutMkLst>
            <pc:docMk/>
            <pc:sldMasterMk cId="3512787155" sldId="2147483764"/>
            <pc:sldLayoutMk cId="3214433652" sldId="2147483708"/>
          </pc:sldLayoutMkLst>
        </pc:sldLayoutChg>
      </pc:sldMasterChg>
    </pc:docChg>
  </pc:docChgLst>
  <pc:docChgLst>
    <pc:chgData name="Tony Radkiewicz" userId="9832534a-7e4f-4058-9c41-7f4a5b855c95" providerId="ADAL" clId="{144461CA-5FD4-4BDA-9BD1-56607D5AB6A3}"/>
    <pc:docChg chg="undo redo custSel addSld delSld modSld sldOrd modSection">
      <pc:chgData name="Tony Radkiewicz" userId="9832534a-7e4f-4058-9c41-7f4a5b855c95" providerId="ADAL" clId="{144461CA-5FD4-4BDA-9BD1-56607D5AB6A3}" dt="2021-09-20T17:00:21.757" v="544"/>
      <pc:docMkLst>
        <pc:docMk/>
      </pc:docMkLst>
      <pc:sldChg chg="modSp mod">
        <pc:chgData name="Tony Radkiewicz" userId="9832534a-7e4f-4058-9c41-7f4a5b855c95" providerId="ADAL" clId="{144461CA-5FD4-4BDA-9BD1-56607D5AB6A3}" dt="2021-09-20T16:30:22.526" v="320" actId="20577"/>
        <pc:sldMkLst>
          <pc:docMk/>
          <pc:sldMk cId="161585193" sldId="268"/>
        </pc:sldMkLst>
        <pc:spChg chg="mod">
          <ac:chgData name="Tony Radkiewicz" userId="9832534a-7e4f-4058-9c41-7f4a5b855c95" providerId="ADAL" clId="{144461CA-5FD4-4BDA-9BD1-56607D5AB6A3}" dt="2021-09-20T16:30:22.526" v="320" actId="20577"/>
          <ac:spMkLst>
            <pc:docMk/>
            <pc:sldMk cId="161585193" sldId="268"/>
            <ac:spMk id="5" creationId="{A6E2E351-13CF-45CA-9AE1-AF0EFECBC9A5}"/>
          </ac:spMkLst>
        </pc:spChg>
      </pc:sldChg>
      <pc:sldChg chg="modSp mod addCm modCm">
        <pc:chgData name="Tony Radkiewicz" userId="9832534a-7e4f-4058-9c41-7f4a5b855c95" providerId="ADAL" clId="{144461CA-5FD4-4BDA-9BD1-56607D5AB6A3}" dt="2021-09-20T16:06:41.948" v="45"/>
        <pc:sldMkLst>
          <pc:docMk/>
          <pc:sldMk cId="2378622006" sldId="1769"/>
        </pc:sldMkLst>
        <pc:graphicFrameChg chg="modGraphic">
          <ac:chgData name="Tony Radkiewicz" userId="9832534a-7e4f-4058-9c41-7f4a5b855c95" providerId="ADAL" clId="{144461CA-5FD4-4BDA-9BD1-56607D5AB6A3}" dt="2021-09-20T16:04:56.603" v="43" actId="20577"/>
          <ac:graphicFrameMkLst>
            <pc:docMk/>
            <pc:sldMk cId="2378622006" sldId="1769"/>
            <ac:graphicFrameMk id="5" creationId="{00000000-0000-0000-0000-000000000000}"/>
          </ac:graphicFrameMkLst>
        </pc:graphicFrameChg>
      </pc:sldChg>
      <pc:sldChg chg="mod modShow">
        <pc:chgData name="Tony Radkiewicz" userId="9832534a-7e4f-4058-9c41-7f4a5b855c95" providerId="ADAL" clId="{144461CA-5FD4-4BDA-9BD1-56607D5AB6A3}" dt="2021-09-20T16:38:28.169" v="338" actId="729"/>
        <pc:sldMkLst>
          <pc:docMk/>
          <pc:sldMk cId="630554025" sldId="1780"/>
        </pc:sldMkLst>
      </pc:sldChg>
      <pc:sldChg chg="addSp delSp modSp mod addCm">
        <pc:chgData name="Tony Radkiewicz" userId="9832534a-7e4f-4058-9c41-7f4a5b855c95" providerId="ADAL" clId="{144461CA-5FD4-4BDA-9BD1-56607D5AB6A3}" dt="2021-09-20T16:24:53.872" v="285" actId="1076"/>
        <pc:sldMkLst>
          <pc:docMk/>
          <pc:sldMk cId="1126158603" sldId="1793"/>
        </pc:sldMkLst>
        <pc:graphicFrameChg chg="mod modGraphic">
          <ac:chgData name="Tony Radkiewicz" userId="9832534a-7e4f-4058-9c41-7f4a5b855c95" providerId="ADAL" clId="{144461CA-5FD4-4BDA-9BD1-56607D5AB6A3}" dt="2021-09-20T16:24:21.344" v="269"/>
          <ac:graphicFrameMkLst>
            <pc:docMk/>
            <pc:sldMk cId="1126158603" sldId="1793"/>
            <ac:graphicFrameMk id="2" creationId="{00DFD454-F652-4BA4-B0DA-571743499239}"/>
          </ac:graphicFrameMkLst>
        </pc:graphicFrameChg>
        <pc:picChg chg="add mod">
          <ac:chgData name="Tony Radkiewicz" userId="9832534a-7e4f-4058-9c41-7f4a5b855c95" providerId="ADAL" clId="{144461CA-5FD4-4BDA-9BD1-56607D5AB6A3}" dt="2021-09-20T16:24:31.025" v="272" actId="1076"/>
          <ac:picMkLst>
            <pc:docMk/>
            <pc:sldMk cId="1126158603" sldId="1793"/>
            <ac:picMk id="5" creationId="{C1AEBEE7-8100-4BDB-A127-5078BAB72803}"/>
          </ac:picMkLst>
        </pc:picChg>
        <pc:picChg chg="add mod">
          <ac:chgData name="Tony Radkiewicz" userId="9832534a-7e4f-4058-9c41-7f4a5b855c95" providerId="ADAL" clId="{144461CA-5FD4-4BDA-9BD1-56607D5AB6A3}" dt="2021-09-20T16:24:36.885" v="273" actId="1076"/>
          <ac:picMkLst>
            <pc:docMk/>
            <pc:sldMk cId="1126158603" sldId="1793"/>
            <ac:picMk id="6" creationId="{B7CDF89D-26F2-4437-A032-CAAF41794711}"/>
          </ac:picMkLst>
        </pc:picChg>
        <pc:picChg chg="add mod">
          <ac:chgData name="Tony Radkiewicz" userId="9832534a-7e4f-4058-9c41-7f4a5b855c95" providerId="ADAL" clId="{144461CA-5FD4-4BDA-9BD1-56607D5AB6A3}" dt="2021-09-20T16:24:41.068" v="276" actId="1076"/>
          <ac:picMkLst>
            <pc:docMk/>
            <pc:sldMk cId="1126158603" sldId="1793"/>
            <ac:picMk id="7" creationId="{E348AED5-E768-4707-B7E2-A2BF428ECC78}"/>
          </ac:picMkLst>
        </pc:picChg>
        <pc:picChg chg="del mod">
          <ac:chgData name="Tony Radkiewicz" userId="9832534a-7e4f-4058-9c41-7f4a5b855c95" providerId="ADAL" clId="{144461CA-5FD4-4BDA-9BD1-56607D5AB6A3}" dt="2021-09-20T16:22:24.118" v="237" actId="478"/>
          <ac:picMkLst>
            <pc:docMk/>
            <pc:sldMk cId="1126158603" sldId="1793"/>
            <ac:picMk id="9" creationId="{14B887AC-C67F-4338-9A62-13069BBBCF68}"/>
          </ac:picMkLst>
        </pc:picChg>
        <pc:picChg chg="add mod">
          <ac:chgData name="Tony Radkiewicz" userId="9832534a-7e4f-4058-9c41-7f4a5b855c95" providerId="ADAL" clId="{144461CA-5FD4-4BDA-9BD1-56607D5AB6A3}" dt="2021-09-20T16:24:44.978" v="279" actId="1076"/>
          <ac:picMkLst>
            <pc:docMk/>
            <pc:sldMk cId="1126158603" sldId="1793"/>
            <ac:picMk id="12" creationId="{A4391CB3-6E55-4FC2-B701-D61882309488}"/>
          </ac:picMkLst>
        </pc:picChg>
        <pc:picChg chg="add mod">
          <ac:chgData name="Tony Radkiewicz" userId="9832534a-7e4f-4058-9c41-7f4a5b855c95" providerId="ADAL" clId="{144461CA-5FD4-4BDA-9BD1-56607D5AB6A3}" dt="2021-09-20T16:24:49.535" v="282" actId="1076"/>
          <ac:picMkLst>
            <pc:docMk/>
            <pc:sldMk cId="1126158603" sldId="1793"/>
            <ac:picMk id="13" creationId="{6CD8EF63-5F0B-43C0-980A-74E5CF342826}"/>
          </ac:picMkLst>
        </pc:picChg>
        <pc:picChg chg="add mod">
          <ac:chgData name="Tony Radkiewicz" userId="9832534a-7e4f-4058-9c41-7f4a5b855c95" providerId="ADAL" clId="{144461CA-5FD4-4BDA-9BD1-56607D5AB6A3}" dt="2021-09-20T16:24:53.872" v="285" actId="1076"/>
          <ac:picMkLst>
            <pc:docMk/>
            <pc:sldMk cId="1126158603" sldId="1793"/>
            <ac:picMk id="14" creationId="{EF67215E-12E6-41AD-9249-91CF93E3E047}"/>
          </ac:picMkLst>
        </pc:picChg>
        <pc:picChg chg="del mod">
          <ac:chgData name="Tony Radkiewicz" userId="9832534a-7e4f-4058-9c41-7f4a5b855c95" providerId="ADAL" clId="{144461CA-5FD4-4BDA-9BD1-56607D5AB6A3}" dt="2021-09-20T16:22:39.955" v="246" actId="478"/>
          <ac:picMkLst>
            <pc:docMk/>
            <pc:sldMk cId="1126158603" sldId="1793"/>
            <ac:picMk id="15" creationId="{B54C99B4-7F3D-48B4-A5F5-6FED5DA02F32}"/>
          </ac:picMkLst>
        </pc:picChg>
        <pc:picChg chg="del mod">
          <ac:chgData name="Tony Radkiewicz" userId="9832534a-7e4f-4058-9c41-7f4a5b855c95" providerId="ADAL" clId="{144461CA-5FD4-4BDA-9BD1-56607D5AB6A3}" dt="2021-09-20T16:22:40.974" v="247" actId="478"/>
          <ac:picMkLst>
            <pc:docMk/>
            <pc:sldMk cId="1126158603" sldId="1793"/>
            <ac:picMk id="16" creationId="{129E32BA-2A38-45E4-8D57-4E76ECA12579}"/>
          </ac:picMkLst>
        </pc:picChg>
      </pc:sldChg>
      <pc:sldChg chg="modSp add mod addAnim delAnim modShow addCm modNotesTx">
        <pc:chgData name="Tony Radkiewicz" userId="9832534a-7e4f-4058-9c41-7f4a5b855c95" providerId="ADAL" clId="{144461CA-5FD4-4BDA-9BD1-56607D5AB6A3}" dt="2021-09-20T16:09:26.106" v="150" actId="20577"/>
        <pc:sldMkLst>
          <pc:docMk/>
          <pc:sldMk cId="1379602112" sldId="1796"/>
        </pc:sldMkLst>
        <pc:graphicFrameChg chg="modGraphic">
          <ac:chgData name="Tony Radkiewicz" userId="9832534a-7e4f-4058-9c41-7f4a5b855c95" providerId="ADAL" clId="{144461CA-5FD4-4BDA-9BD1-56607D5AB6A3}" dt="2021-09-20T16:09:26.106" v="150" actId="20577"/>
          <ac:graphicFrameMkLst>
            <pc:docMk/>
            <pc:sldMk cId="1379602112" sldId="1796"/>
            <ac:graphicFrameMk id="5" creationId="{00000000-0000-0000-0000-000000000000}"/>
          </ac:graphicFrameMkLst>
        </pc:graphicFrameChg>
      </pc:sldChg>
      <pc:sldChg chg="modSp mod ord modShow">
        <pc:chgData name="Tony Radkiewicz" userId="9832534a-7e4f-4058-9c41-7f4a5b855c95" providerId="ADAL" clId="{144461CA-5FD4-4BDA-9BD1-56607D5AB6A3}" dt="2021-09-20T16:38:26.058" v="337" actId="729"/>
        <pc:sldMkLst>
          <pc:docMk/>
          <pc:sldMk cId="816355800" sldId="1797"/>
        </pc:sldMkLst>
        <pc:spChg chg="mod">
          <ac:chgData name="Tony Radkiewicz" userId="9832534a-7e4f-4058-9c41-7f4a5b855c95" providerId="ADAL" clId="{144461CA-5FD4-4BDA-9BD1-56607D5AB6A3}" dt="2021-09-20T16:37:06.365" v="334" actId="20577"/>
          <ac:spMkLst>
            <pc:docMk/>
            <pc:sldMk cId="816355800" sldId="1797"/>
            <ac:spMk id="12" creationId="{787E219C-D0CC-479F-ACFC-845BD7297DC9}"/>
          </ac:spMkLst>
        </pc:spChg>
        <pc:spChg chg="mod">
          <ac:chgData name="Tony Radkiewicz" userId="9832534a-7e4f-4058-9c41-7f4a5b855c95" providerId="ADAL" clId="{144461CA-5FD4-4BDA-9BD1-56607D5AB6A3}" dt="2021-09-20T16:36:12.427" v="324" actId="20577"/>
          <ac:spMkLst>
            <pc:docMk/>
            <pc:sldMk cId="816355800" sldId="1797"/>
            <ac:spMk id="14" creationId="{C53A5CCE-28DC-4161-833B-A0C97956700C}"/>
          </ac:spMkLst>
        </pc:spChg>
      </pc:sldChg>
      <pc:sldChg chg="addSp modSp add del mod modShow">
        <pc:chgData name="Tony Radkiewicz" userId="9832534a-7e4f-4058-9c41-7f4a5b855c95" providerId="ADAL" clId="{144461CA-5FD4-4BDA-9BD1-56607D5AB6A3}" dt="2021-09-20T16:19:12.173" v="218" actId="47"/>
        <pc:sldMkLst>
          <pc:docMk/>
          <pc:sldMk cId="2788732613" sldId="1797"/>
        </pc:sldMkLst>
        <pc:picChg chg="add mod">
          <ac:chgData name="Tony Radkiewicz" userId="9832534a-7e4f-4058-9c41-7f4a5b855c95" providerId="ADAL" clId="{144461CA-5FD4-4BDA-9BD1-56607D5AB6A3}" dt="2021-09-20T16:11:54.171" v="159" actId="1076"/>
          <ac:picMkLst>
            <pc:docMk/>
            <pc:sldMk cId="2788732613" sldId="1797"/>
            <ac:picMk id="4" creationId="{FFA2EE32-5343-4B12-A4B5-432CB98BFA5E}"/>
          </ac:picMkLst>
        </pc:picChg>
        <pc:picChg chg="add mod">
          <ac:chgData name="Tony Radkiewicz" userId="9832534a-7e4f-4058-9c41-7f4a5b855c95" providerId="ADAL" clId="{144461CA-5FD4-4BDA-9BD1-56607D5AB6A3}" dt="2021-09-20T16:11:52.432" v="158" actId="1076"/>
          <ac:picMkLst>
            <pc:docMk/>
            <pc:sldMk cId="2788732613" sldId="1797"/>
            <ac:picMk id="5" creationId="{14905C73-33FF-4CC0-A594-B8FDE56E8190}"/>
          </ac:picMkLst>
        </pc:picChg>
        <pc:picChg chg="add mod">
          <ac:chgData name="Tony Radkiewicz" userId="9832534a-7e4f-4058-9c41-7f4a5b855c95" providerId="ADAL" clId="{144461CA-5FD4-4BDA-9BD1-56607D5AB6A3}" dt="2021-09-20T16:11:49.454" v="157" actId="1076"/>
          <ac:picMkLst>
            <pc:docMk/>
            <pc:sldMk cId="2788732613" sldId="1797"/>
            <ac:picMk id="6" creationId="{F6B0E675-C910-44A4-B649-1FECC7D4C151}"/>
          </ac:picMkLst>
        </pc:picChg>
      </pc:sldChg>
      <pc:sldChg chg="addSp modSp add mod modShow">
        <pc:chgData name="Tony Radkiewicz" userId="9832534a-7e4f-4058-9c41-7f4a5b855c95" providerId="ADAL" clId="{144461CA-5FD4-4BDA-9BD1-56607D5AB6A3}" dt="2021-09-20T16:19:09.715" v="217" actId="729"/>
        <pc:sldMkLst>
          <pc:docMk/>
          <pc:sldMk cId="232370109" sldId="1798"/>
        </pc:sldMkLst>
        <pc:picChg chg="add mod">
          <ac:chgData name="Tony Radkiewicz" userId="9832534a-7e4f-4058-9c41-7f4a5b855c95" providerId="ADAL" clId="{144461CA-5FD4-4BDA-9BD1-56607D5AB6A3}" dt="2021-09-20T16:19:07.511" v="216" actId="1076"/>
          <ac:picMkLst>
            <pc:docMk/>
            <pc:sldMk cId="232370109" sldId="1798"/>
            <ac:picMk id="4" creationId="{48EC2D66-046A-4ED8-9140-A8CCE1201D4D}"/>
          </ac:picMkLst>
        </pc:picChg>
        <pc:picChg chg="add mod">
          <ac:chgData name="Tony Radkiewicz" userId="9832534a-7e4f-4058-9c41-7f4a5b855c95" providerId="ADAL" clId="{144461CA-5FD4-4BDA-9BD1-56607D5AB6A3}" dt="2021-09-20T16:19:03.934" v="215" actId="1076"/>
          <ac:picMkLst>
            <pc:docMk/>
            <pc:sldMk cId="232370109" sldId="1798"/>
            <ac:picMk id="5" creationId="{BE6E8F26-6AC2-44F2-92BA-FC3206272DD2}"/>
          </ac:picMkLst>
        </pc:picChg>
        <pc:picChg chg="add mod">
          <ac:chgData name="Tony Radkiewicz" userId="9832534a-7e4f-4058-9c41-7f4a5b855c95" providerId="ADAL" clId="{144461CA-5FD4-4BDA-9BD1-56607D5AB6A3}" dt="2021-09-20T16:19:01.714" v="214" actId="1076"/>
          <ac:picMkLst>
            <pc:docMk/>
            <pc:sldMk cId="232370109" sldId="1798"/>
            <ac:picMk id="6" creationId="{07DA6BF2-5581-4A8D-90DC-0B4C63C4C9EE}"/>
          </ac:picMkLst>
        </pc:picChg>
      </pc:sldChg>
      <pc:sldChg chg="add del mod modShow">
        <pc:chgData name="Tony Radkiewicz" userId="9832534a-7e4f-4058-9c41-7f4a5b855c95" providerId="ADAL" clId="{144461CA-5FD4-4BDA-9BD1-56607D5AB6A3}" dt="2021-09-20T16:18:47.290" v="209" actId="47"/>
        <pc:sldMkLst>
          <pc:docMk/>
          <pc:sldMk cId="860259525" sldId="1798"/>
        </pc:sldMkLst>
      </pc:sldChg>
      <pc:sldChg chg="del">
        <pc:chgData name="Tony Radkiewicz" userId="9832534a-7e4f-4058-9c41-7f4a5b855c95" providerId="ADAL" clId="{144461CA-5FD4-4BDA-9BD1-56607D5AB6A3}" dt="2021-09-20T16:51:11.069" v="484" actId="2696"/>
        <pc:sldMkLst>
          <pc:docMk/>
          <pc:sldMk cId="2854701824" sldId="1798"/>
        </pc:sldMkLst>
      </pc:sldChg>
      <pc:sldChg chg="add del">
        <pc:chgData name="Tony Radkiewicz" userId="9832534a-7e4f-4058-9c41-7f4a5b855c95" providerId="ADAL" clId="{144461CA-5FD4-4BDA-9BD1-56607D5AB6A3}" dt="2021-09-20T16:15:05.831" v="178" actId="2696"/>
        <pc:sldMkLst>
          <pc:docMk/>
          <pc:sldMk cId="225079266" sldId="1799"/>
        </pc:sldMkLst>
      </pc:sldChg>
      <pc:sldChg chg="addSp delSp modSp add mod addCm modCm">
        <pc:chgData name="Tony Radkiewicz" userId="9832534a-7e4f-4058-9c41-7f4a5b855c95" providerId="ADAL" clId="{144461CA-5FD4-4BDA-9BD1-56607D5AB6A3}" dt="2021-09-20T17:00:21.757" v="544"/>
        <pc:sldMkLst>
          <pc:docMk/>
          <pc:sldMk cId="2892225085" sldId="1799"/>
        </pc:sldMkLst>
        <pc:spChg chg="add mod">
          <ac:chgData name="Tony Radkiewicz" userId="9832534a-7e4f-4058-9c41-7f4a5b855c95" providerId="ADAL" clId="{144461CA-5FD4-4BDA-9BD1-56607D5AB6A3}" dt="2021-09-20T16:42:20.410" v="343"/>
          <ac:spMkLst>
            <pc:docMk/>
            <pc:sldMk cId="2892225085" sldId="1799"/>
            <ac:spMk id="8" creationId="{C91C7DF6-5B96-4A5D-A1BA-C33C4CFB9C0B}"/>
          </ac:spMkLst>
        </pc:spChg>
        <pc:spChg chg="add mod">
          <ac:chgData name="Tony Radkiewicz" userId="9832534a-7e4f-4058-9c41-7f4a5b855c95" providerId="ADAL" clId="{144461CA-5FD4-4BDA-9BD1-56607D5AB6A3}" dt="2021-09-20T16:42:20.410" v="343"/>
          <ac:spMkLst>
            <pc:docMk/>
            <pc:sldMk cId="2892225085" sldId="1799"/>
            <ac:spMk id="9" creationId="{EA8ECC37-E638-4FE4-A98E-F24FBC28D1FB}"/>
          </ac:spMkLst>
        </pc:spChg>
        <pc:spChg chg="add mod">
          <ac:chgData name="Tony Radkiewicz" userId="9832534a-7e4f-4058-9c41-7f4a5b855c95" providerId="ADAL" clId="{144461CA-5FD4-4BDA-9BD1-56607D5AB6A3}" dt="2021-09-20T16:42:20.410" v="343"/>
          <ac:spMkLst>
            <pc:docMk/>
            <pc:sldMk cId="2892225085" sldId="1799"/>
            <ac:spMk id="10" creationId="{071A1EF9-CD26-45DF-8F09-ED624FF69BBA}"/>
          </ac:spMkLst>
        </pc:spChg>
        <pc:spChg chg="add mod">
          <ac:chgData name="Tony Radkiewicz" userId="9832534a-7e4f-4058-9c41-7f4a5b855c95" providerId="ADAL" clId="{144461CA-5FD4-4BDA-9BD1-56607D5AB6A3}" dt="2021-09-20T16:42:20.410" v="343"/>
          <ac:spMkLst>
            <pc:docMk/>
            <pc:sldMk cId="2892225085" sldId="1799"/>
            <ac:spMk id="11" creationId="{750BC893-6210-4D02-B214-378EA3AAE18B}"/>
          </ac:spMkLst>
        </pc:spChg>
        <pc:spChg chg="add mod">
          <ac:chgData name="Tony Radkiewicz" userId="9832534a-7e4f-4058-9c41-7f4a5b855c95" providerId="ADAL" clId="{144461CA-5FD4-4BDA-9BD1-56607D5AB6A3}" dt="2021-09-20T16:42:20.410" v="343"/>
          <ac:spMkLst>
            <pc:docMk/>
            <pc:sldMk cId="2892225085" sldId="1799"/>
            <ac:spMk id="12" creationId="{95032A1A-8601-4AC9-8B79-DB8AFD592CFA}"/>
          </ac:spMkLst>
        </pc:spChg>
        <pc:spChg chg="add mod">
          <ac:chgData name="Tony Radkiewicz" userId="9832534a-7e4f-4058-9c41-7f4a5b855c95" providerId="ADAL" clId="{144461CA-5FD4-4BDA-9BD1-56607D5AB6A3}" dt="2021-09-20T16:42:20.410" v="343"/>
          <ac:spMkLst>
            <pc:docMk/>
            <pc:sldMk cId="2892225085" sldId="1799"/>
            <ac:spMk id="13" creationId="{07ADFE83-F90C-4CA8-AF8F-E96BABDB7B36}"/>
          </ac:spMkLst>
        </pc:spChg>
        <pc:spChg chg="add mod">
          <ac:chgData name="Tony Radkiewicz" userId="9832534a-7e4f-4058-9c41-7f4a5b855c95" providerId="ADAL" clId="{144461CA-5FD4-4BDA-9BD1-56607D5AB6A3}" dt="2021-09-20T16:42:20.410" v="343"/>
          <ac:spMkLst>
            <pc:docMk/>
            <pc:sldMk cId="2892225085" sldId="1799"/>
            <ac:spMk id="14" creationId="{02DC551F-C520-40DE-B122-76C3FD86BAA0}"/>
          </ac:spMkLst>
        </pc:spChg>
        <pc:spChg chg="add mod">
          <ac:chgData name="Tony Radkiewicz" userId="9832534a-7e4f-4058-9c41-7f4a5b855c95" providerId="ADAL" clId="{144461CA-5FD4-4BDA-9BD1-56607D5AB6A3}" dt="2021-09-20T16:42:20.410" v="343"/>
          <ac:spMkLst>
            <pc:docMk/>
            <pc:sldMk cId="2892225085" sldId="1799"/>
            <ac:spMk id="15" creationId="{C02F1DBB-227D-444A-B367-EB7F25A9E91F}"/>
          </ac:spMkLst>
        </pc:spChg>
        <pc:spChg chg="add del mod">
          <ac:chgData name="Tony Radkiewicz" userId="9832534a-7e4f-4058-9c41-7f4a5b855c95" providerId="ADAL" clId="{144461CA-5FD4-4BDA-9BD1-56607D5AB6A3}" dt="2021-09-20T16:44:20.765" v="400" actId="478"/>
          <ac:spMkLst>
            <pc:docMk/>
            <pc:sldMk cId="2892225085" sldId="1799"/>
            <ac:spMk id="16" creationId="{28243E08-A5CF-484E-B667-EEB57F1FBF96}"/>
          </ac:spMkLst>
        </pc:spChg>
        <pc:spChg chg="add mod">
          <ac:chgData name="Tony Radkiewicz" userId="9832534a-7e4f-4058-9c41-7f4a5b855c95" providerId="ADAL" clId="{144461CA-5FD4-4BDA-9BD1-56607D5AB6A3}" dt="2021-09-20T16:57:24.857" v="518" actId="14100"/>
          <ac:spMkLst>
            <pc:docMk/>
            <pc:sldMk cId="2892225085" sldId="1799"/>
            <ac:spMk id="18" creationId="{DB5356C5-3DD1-466E-B1C5-B0A1195C117A}"/>
          </ac:spMkLst>
        </pc:spChg>
        <pc:grpChg chg="add mod">
          <ac:chgData name="Tony Radkiewicz" userId="9832534a-7e4f-4058-9c41-7f4a5b855c95" providerId="ADAL" clId="{144461CA-5FD4-4BDA-9BD1-56607D5AB6A3}" dt="2021-09-20T16:42:20.410" v="343"/>
          <ac:grpSpMkLst>
            <pc:docMk/>
            <pc:sldMk cId="2892225085" sldId="1799"/>
            <ac:grpSpMk id="4" creationId="{425F0602-D968-4345-BB93-C78E81DC6E72}"/>
          </ac:grpSpMkLst>
        </pc:grpChg>
        <pc:grpChg chg="add mod">
          <ac:chgData name="Tony Radkiewicz" userId="9832534a-7e4f-4058-9c41-7f4a5b855c95" providerId="ADAL" clId="{144461CA-5FD4-4BDA-9BD1-56607D5AB6A3}" dt="2021-09-20T16:42:20.410" v="343"/>
          <ac:grpSpMkLst>
            <pc:docMk/>
            <pc:sldMk cId="2892225085" sldId="1799"/>
            <ac:grpSpMk id="5" creationId="{B95CDCB6-67AB-4A9E-A043-904574F79CAF}"/>
          </ac:grpSpMkLst>
        </pc:grpChg>
        <pc:grpChg chg="add mod">
          <ac:chgData name="Tony Radkiewicz" userId="9832534a-7e4f-4058-9c41-7f4a5b855c95" providerId="ADAL" clId="{144461CA-5FD4-4BDA-9BD1-56607D5AB6A3}" dt="2021-09-20T16:42:20.410" v="343"/>
          <ac:grpSpMkLst>
            <pc:docMk/>
            <pc:sldMk cId="2892225085" sldId="1799"/>
            <ac:grpSpMk id="6" creationId="{7BED9C24-91BC-4A94-BE5D-BA9730A1D1B7}"/>
          </ac:grpSpMkLst>
        </pc:grpChg>
        <pc:grpChg chg="add mod">
          <ac:chgData name="Tony Radkiewicz" userId="9832534a-7e4f-4058-9c41-7f4a5b855c95" providerId="ADAL" clId="{144461CA-5FD4-4BDA-9BD1-56607D5AB6A3}" dt="2021-09-20T16:42:20.410" v="343"/>
          <ac:grpSpMkLst>
            <pc:docMk/>
            <pc:sldMk cId="2892225085" sldId="1799"/>
            <ac:grpSpMk id="7" creationId="{FABC6F76-6158-4E21-B1A6-38CDBD6C7F59}"/>
          </ac:grpSpMkLst>
        </pc:grpChg>
        <pc:graphicFrameChg chg="mod">
          <ac:chgData name="Tony Radkiewicz" userId="9832534a-7e4f-4058-9c41-7f4a5b855c95" providerId="ADAL" clId="{144461CA-5FD4-4BDA-9BD1-56607D5AB6A3}" dt="2021-09-20T16:55:18.396" v="500" actId="113"/>
          <ac:graphicFrameMkLst>
            <pc:docMk/>
            <pc:sldMk cId="2892225085" sldId="1799"/>
            <ac:graphicFrameMk id="3" creationId="{D0E0DB5C-7432-4211-B55B-5D6CE03F2884}"/>
          </ac:graphicFrameMkLst>
        </pc:graphicFrameChg>
        <pc:graphicFrameChg chg="add mod modGraphic">
          <ac:chgData name="Tony Radkiewicz" userId="9832534a-7e4f-4058-9c41-7f4a5b855c95" providerId="ADAL" clId="{144461CA-5FD4-4BDA-9BD1-56607D5AB6A3}" dt="2021-09-20T16:59:01.093" v="542" actId="20577"/>
          <ac:graphicFrameMkLst>
            <pc:docMk/>
            <pc:sldMk cId="2892225085" sldId="1799"/>
            <ac:graphicFrameMk id="17" creationId="{5768BE25-8529-4798-9A30-A3247E63EE2E}"/>
          </ac:graphicFrameMkLst>
        </pc:graphicFrameChg>
      </pc:sldChg>
      <pc:sldChg chg="addSp modSp mod">
        <pc:chgData name="Tony Radkiewicz" userId="9832534a-7e4f-4058-9c41-7f4a5b855c95" providerId="ADAL" clId="{144461CA-5FD4-4BDA-9BD1-56607D5AB6A3}" dt="2021-09-20T16:54:24.510" v="499" actId="692"/>
        <pc:sldMkLst>
          <pc:docMk/>
          <pc:sldMk cId="1393033655" sldId="1800"/>
        </pc:sldMkLst>
        <pc:spChg chg="add mod">
          <ac:chgData name="Tony Radkiewicz" userId="9832534a-7e4f-4058-9c41-7f4a5b855c95" providerId="ADAL" clId="{144461CA-5FD4-4BDA-9BD1-56607D5AB6A3}" dt="2021-09-20T16:54:24.510" v="499" actId="692"/>
          <ac:spMkLst>
            <pc:docMk/>
            <pc:sldMk cId="1393033655" sldId="1800"/>
            <ac:spMk id="5" creationId="{038EC2C1-B388-4694-A80F-D73CA1D08278}"/>
          </ac:spMkLst>
        </pc:spChg>
      </pc:sldChg>
    </pc:docChg>
  </pc:docChgLst>
  <pc:docChgLst>
    <pc:chgData name="Michael Wiley" userId="c47109c9-80e8-471c-a0d8-79372bbb0a30" providerId="ADAL" clId="{B5FEA6F6-4EF4-4247-A42B-BE1418B751B5}"/>
    <pc:docChg chg="undo redo custSel addSld delSld modSld sldOrd modSection">
      <pc:chgData name="Michael Wiley" userId="c47109c9-80e8-471c-a0d8-79372bbb0a30" providerId="ADAL" clId="{B5FEA6F6-4EF4-4247-A42B-BE1418B751B5}" dt="2021-10-01T18:23:02.218" v="3456" actId="20577"/>
      <pc:docMkLst>
        <pc:docMk/>
      </pc:docMkLst>
      <pc:sldChg chg="del">
        <pc:chgData name="Michael Wiley" userId="c47109c9-80e8-471c-a0d8-79372bbb0a30" providerId="ADAL" clId="{B5FEA6F6-4EF4-4247-A42B-BE1418B751B5}" dt="2021-08-23T18:44:31.575" v="691" actId="47"/>
        <pc:sldMkLst>
          <pc:docMk/>
          <pc:sldMk cId="935466089" sldId="260"/>
        </pc:sldMkLst>
      </pc:sldChg>
      <pc:sldChg chg="del">
        <pc:chgData name="Michael Wiley" userId="c47109c9-80e8-471c-a0d8-79372bbb0a30" providerId="ADAL" clId="{B5FEA6F6-4EF4-4247-A42B-BE1418B751B5}" dt="2021-08-23T18:44:36.366" v="692" actId="47"/>
        <pc:sldMkLst>
          <pc:docMk/>
          <pc:sldMk cId="211187702" sldId="261"/>
        </pc:sldMkLst>
      </pc:sldChg>
      <pc:sldChg chg="modSp add del mod ord modShow modNotesTx">
        <pc:chgData name="Michael Wiley" userId="c47109c9-80e8-471c-a0d8-79372bbb0a30" providerId="ADAL" clId="{B5FEA6F6-4EF4-4247-A42B-BE1418B751B5}" dt="2021-09-13T13:03:32.783" v="1257" actId="729"/>
        <pc:sldMkLst>
          <pc:docMk/>
          <pc:sldMk cId="719765010" sldId="262"/>
        </pc:sldMkLst>
        <pc:graphicFrameChg chg="mod modGraphic">
          <ac:chgData name="Michael Wiley" userId="c47109c9-80e8-471c-a0d8-79372bbb0a30" providerId="ADAL" clId="{B5FEA6F6-4EF4-4247-A42B-BE1418B751B5}" dt="2021-08-23T18:43:17.909" v="579" actId="114"/>
          <ac:graphicFrameMkLst>
            <pc:docMk/>
            <pc:sldMk cId="719765010" sldId="262"/>
            <ac:graphicFrameMk id="5" creationId="{00000000-0000-0000-0000-000000000000}"/>
          </ac:graphicFrameMkLst>
        </pc:graphicFrameChg>
      </pc:sldChg>
      <pc:sldChg chg="del">
        <pc:chgData name="Michael Wiley" userId="c47109c9-80e8-471c-a0d8-79372bbb0a30" providerId="ADAL" clId="{B5FEA6F6-4EF4-4247-A42B-BE1418B751B5}" dt="2021-08-23T18:44:39.596" v="693" actId="47"/>
        <pc:sldMkLst>
          <pc:docMk/>
          <pc:sldMk cId="2299061616" sldId="263"/>
        </pc:sldMkLst>
      </pc:sldChg>
      <pc:sldChg chg="del">
        <pc:chgData name="Michael Wiley" userId="c47109c9-80e8-471c-a0d8-79372bbb0a30" providerId="ADAL" clId="{B5FEA6F6-4EF4-4247-A42B-BE1418B751B5}" dt="2021-08-23T17:59:35.356" v="7" actId="47"/>
        <pc:sldMkLst>
          <pc:docMk/>
          <pc:sldMk cId="252075392" sldId="266"/>
        </pc:sldMkLst>
      </pc:sldChg>
      <pc:sldChg chg="del">
        <pc:chgData name="Michael Wiley" userId="c47109c9-80e8-471c-a0d8-79372bbb0a30" providerId="ADAL" clId="{B5FEA6F6-4EF4-4247-A42B-BE1418B751B5}" dt="2021-08-23T17:59:32.584" v="6" actId="47"/>
        <pc:sldMkLst>
          <pc:docMk/>
          <pc:sldMk cId="3714552278" sldId="267"/>
        </pc:sldMkLst>
      </pc:sldChg>
      <pc:sldChg chg="modNotesTx">
        <pc:chgData name="Michael Wiley" userId="c47109c9-80e8-471c-a0d8-79372bbb0a30" providerId="ADAL" clId="{B5FEA6F6-4EF4-4247-A42B-BE1418B751B5}" dt="2021-08-23T18:29:44.660" v="170" actId="5793"/>
        <pc:sldMkLst>
          <pc:docMk/>
          <pc:sldMk cId="161585193" sldId="268"/>
        </pc:sldMkLst>
      </pc:sldChg>
      <pc:sldChg chg="del">
        <pc:chgData name="Michael Wiley" userId="c47109c9-80e8-471c-a0d8-79372bbb0a30" providerId="ADAL" clId="{B5FEA6F6-4EF4-4247-A42B-BE1418B751B5}" dt="2021-08-23T17:59:43.450" v="8" actId="47"/>
        <pc:sldMkLst>
          <pc:docMk/>
          <pc:sldMk cId="1402544174" sldId="269"/>
        </pc:sldMkLst>
      </pc:sldChg>
      <pc:sldChg chg="del">
        <pc:chgData name="Michael Wiley" userId="c47109c9-80e8-471c-a0d8-79372bbb0a30" providerId="ADAL" clId="{B5FEA6F6-4EF4-4247-A42B-BE1418B751B5}" dt="2021-08-23T17:59:48.365" v="9" actId="47"/>
        <pc:sldMkLst>
          <pc:docMk/>
          <pc:sldMk cId="1934856144" sldId="270"/>
        </pc:sldMkLst>
      </pc:sldChg>
      <pc:sldChg chg="del">
        <pc:chgData name="Michael Wiley" userId="c47109c9-80e8-471c-a0d8-79372bbb0a30" providerId="ADAL" clId="{B5FEA6F6-4EF4-4247-A42B-BE1418B751B5}" dt="2021-08-23T17:59:51.240" v="10" actId="47"/>
        <pc:sldMkLst>
          <pc:docMk/>
          <pc:sldMk cId="266698213" sldId="271"/>
        </pc:sldMkLst>
      </pc:sldChg>
      <pc:sldChg chg="del">
        <pc:chgData name="Michael Wiley" userId="c47109c9-80e8-471c-a0d8-79372bbb0a30" providerId="ADAL" clId="{B5FEA6F6-4EF4-4247-A42B-BE1418B751B5}" dt="2021-08-23T17:59:52.357" v="11" actId="47"/>
        <pc:sldMkLst>
          <pc:docMk/>
          <pc:sldMk cId="1722954105" sldId="272"/>
        </pc:sldMkLst>
      </pc:sldChg>
      <pc:sldChg chg="del">
        <pc:chgData name="Michael Wiley" userId="c47109c9-80e8-471c-a0d8-79372bbb0a30" providerId="ADAL" clId="{B5FEA6F6-4EF4-4247-A42B-BE1418B751B5}" dt="2021-08-23T17:59:59.732" v="12" actId="47"/>
        <pc:sldMkLst>
          <pc:docMk/>
          <pc:sldMk cId="1700905789" sldId="273"/>
        </pc:sldMkLst>
      </pc:sldChg>
      <pc:sldChg chg="modNotesTx">
        <pc:chgData name="Michael Wiley" userId="c47109c9-80e8-471c-a0d8-79372bbb0a30" providerId="ADAL" clId="{B5FEA6F6-4EF4-4247-A42B-BE1418B751B5}" dt="2021-08-23T18:32:50.175" v="460" actId="6549"/>
        <pc:sldMkLst>
          <pc:docMk/>
          <pc:sldMk cId="2872290110" sldId="274"/>
        </pc:sldMkLst>
      </pc:sldChg>
      <pc:sldChg chg="addSp modSp mod modShow modNotesTx">
        <pc:chgData name="Michael Wiley" userId="c47109c9-80e8-471c-a0d8-79372bbb0a30" providerId="ADAL" clId="{B5FEA6F6-4EF4-4247-A42B-BE1418B751B5}" dt="2021-10-01T13:18:33.210" v="2452" actId="729"/>
        <pc:sldMkLst>
          <pc:docMk/>
          <pc:sldMk cId="1158928145" sldId="287"/>
        </pc:sldMkLst>
        <pc:spChg chg="mod">
          <ac:chgData name="Michael Wiley" userId="c47109c9-80e8-471c-a0d8-79372bbb0a30" providerId="ADAL" clId="{B5FEA6F6-4EF4-4247-A42B-BE1418B751B5}" dt="2021-08-23T19:24:03.620" v="1186" actId="255"/>
          <ac:spMkLst>
            <pc:docMk/>
            <pc:sldMk cId="1158928145" sldId="287"/>
            <ac:spMk id="3" creationId="{00000000-0000-0000-0000-000000000000}"/>
          </ac:spMkLst>
        </pc:spChg>
        <pc:spChg chg="mod">
          <ac:chgData name="Michael Wiley" userId="c47109c9-80e8-471c-a0d8-79372bbb0a30" providerId="ADAL" clId="{B5FEA6F6-4EF4-4247-A42B-BE1418B751B5}" dt="2021-08-23T19:23:42.599" v="1183" actId="1076"/>
          <ac:spMkLst>
            <pc:docMk/>
            <pc:sldMk cId="1158928145" sldId="287"/>
            <ac:spMk id="6" creationId="{00000000-0000-0000-0000-000000000000}"/>
          </ac:spMkLst>
        </pc:spChg>
        <pc:spChg chg="add mod">
          <ac:chgData name="Michael Wiley" userId="c47109c9-80e8-471c-a0d8-79372bbb0a30" providerId="ADAL" clId="{B5FEA6F6-4EF4-4247-A42B-BE1418B751B5}" dt="2021-08-23T19:24:28.339" v="1190" actId="1076"/>
          <ac:spMkLst>
            <pc:docMk/>
            <pc:sldMk cId="1158928145" sldId="287"/>
            <ac:spMk id="7" creationId="{9AE9B22F-7DCE-4EED-B25C-BE9552209410}"/>
          </ac:spMkLst>
        </pc:spChg>
        <pc:spChg chg="mod">
          <ac:chgData name="Michael Wiley" userId="c47109c9-80e8-471c-a0d8-79372bbb0a30" providerId="ADAL" clId="{B5FEA6F6-4EF4-4247-A42B-BE1418B751B5}" dt="2021-08-23T19:24:19.094" v="1188" actId="1076"/>
          <ac:spMkLst>
            <pc:docMk/>
            <pc:sldMk cId="1158928145" sldId="287"/>
            <ac:spMk id="8" creationId="{00000000-0000-0000-0000-000000000000}"/>
          </ac:spMkLst>
        </pc:spChg>
      </pc:sldChg>
      <pc:sldChg chg="modSp mod modNotesTx">
        <pc:chgData name="Michael Wiley" userId="c47109c9-80e8-471c-a0d8-79372bbb0a30" providerId="ADAL" clId="{B5FEA6F6-4EF4-4247-A42B-BE1418B751B5}" dt="2021-08-23T19:11:29.312" v="1055" actId="1076"/>
        <pc:sldMkLst>
          <pc:docMk/>
          <pc:sldMk cId="3004075383" sldId="289"/>
        </pc:sldMkLst>
        <pc:spChg chg="mod">
          <ac:chgData name="Michael Wiley" userId="c47109c9-80e8-471c-a0d8-79372bbb0a30" providerId="ADAL" clId="{B5FEA6F6-4EF4-4247-A42B-BE1418B751B5}" dt="2021-08-23T19:11:19.616" v="1054" actId="6549"/>
          <ac:spMkLst>
            <pc:docMk/>
            <pc:sldMk cId="3004075383" sldId="289"/>
            <ac:spMk id="4" creationId="{16643B86-A377-4AC8-8AAA-04DD80B08CBB}"/>
          </ac:spMkLst>
        </pc:spChg>
        <pc:spChg chg="mod">
          <ac:chgData name="Michael Wiley" userId="c47109c9-80e8-471c-a0d8-79372bbb0a30" providerId="ADAL" clId="{B5FEA6F6-4EF4-4247-A42B-BE1418B751B5}" dt="2021-08-23T19:11:29.312" v="1055" actId="1076"/>
          <ac:spMkLst>
            <pc:docMk/>
            <pc:sldMk cId="3004075383" sldId="289"/>
            <ac:spMk id="16" creationId="{1D54358D-E2F3-48A7-B3CE-F68AFC373CCF}"/>
          </ac:spMkLst>
        </pc:spChg>
      </pc:sldChg>
      <pc:sldChg chg="modSp mod ord modShow">
        <pc:chgData name="Michael Wiley" userId="c47109c9-80e8-471c-a0d8-79372bbb0a30" providerId="ADAL" clId="{B5FEA6F6-4EF4-4247-A42B-BE1418B751B5}" dt="2021-08-23T19:20:48.577" v="1162" actId="729"/>
        <pc:sldMkLst>
          <pc:docMk/>
          <pc:sldMk cId="2234139494" sldId="292"/>
        </pc:sldMkLst>
        <pc:spChg chg="mod">
          <ac:chgData name="Michael Wiley" userId="c47109c9-80e8-471c-a0d8-79372bbb0a30" providerId="ADAL" clId="{B5FEA6F6-4EF4-4247-A42B-BE1418B751B5}" dt="2021-08-23T18:49:47.870" v="737" actId="6549"/>
          <ac:spMkLst>
            <pc:docMk/>
            <pc:sldMk cId="2234139494" sldId="292"/>
            <ac:spMk id="9" creationId="{00000000-0000-0000-0000-000000000000}"/>
          </ac:spMkLst>
        </pc:spChg>
        <pc:spChg chg="mod">
          <ac:chgData name="Michael Wiley" userId="c47109c9-80e8-471c-a0d8-79372bbb0a30" providerId="ADAL" clId="{B5FEA6F6-4EF4-4247-A42B-BE1418B751B5}" dt="2021-08-23T18:49:51.048" v="738" actId="6549"/>
          <ac:spMkLst>
            <pc:docMk/>
            <pc:sldMk cId="2234139494" sldId="292"/>
            <ac:spMk id="10" creationId="{00000000-0000-0000-0000-000000000000}"/>
          </ac:spMkLst>
        </pc:spChg>
      </pc:sldChg>
      <pc:sldChg chg="addSp delSp modSp mod modAnim">
        <pc:chgData name="Michael Wiley" userId="c47109c9-80e8-471c-a0d8-79372bbb0a30" providerId="ADAL" clId="{B5FEA6F6-4EF4-4247-A42B-BE1418B751B5}" dt="2021-08-23T19:34:38.499" v="1253" actId="20577"/>
        <pc:sldMkLst>
          <pc:docMk/>
          <pc:sldMk cId="1111006109" sldId="293"/>
        </pc:sldMkLst>
        <pc:spChg chg="mod">
          <ac:chgData name="Michael Wiley" userId="c47109c9-80e8-471c-a0d8-79372bbb0a30" providerId="ADAL" clId="{B5FEA6F6-4EF4-4247-A42B-BE1418B751B5}" dt="2021-08-23T19:33:16.096" v="1214" actId="20577"/>
          <ac:spMkLst>
            <pc:docMk/>
            <pc:sldMk cId="1111006109" sldId="293"/>
            <ac:spMk id="8" creationId="{00000000-0000-0000-0000-000000000000}"/>
          </ac:spMkLst>
        </pc:spChg>
        <pc:spChg chg="mod">
          <ac:chgData name="Michael Wiley" userId="c47109c9-80e8-471c-a0d8-79372bbb0a30" providerId="ADAL" clId="{B5FEA6F6-4EF4-4247-A42B-BE1418B751B5}" dt="2021-08-23T19:29:31.916" v="1192" actId="207"/>
          <ac:spMkLst>
            <pc:docMk/>
            <pc:sldMk cId="1111006109" sldId="293"/>
            <ac:spMk id="11" creationId="{00000000-0000-0000-0000-000000000000}"/>
          </ac:spMkLst>
        </pc:spChg>
        <pc:spChg chg="mod">
          <ac:chgData name="Michael Wiley" userId="c47109c9-80e8-471c-a0d8-79372bbb0a30" providerId="ADAL" clId="{B5FEA6F6-4EF4-4247-A42B-BE1418B751B5}" dt="2021-08-23T19:29:35.892" v="1193" actId="207"/>
          <ac:spMkLst>
            <pc:docMk/>
            <pc:sldMk cId="1111006109" sldId="293"/>
            <ac:spMk id="14" creationId="{00000000-0000-0000-0000-000000000000}"/>
          </ac:spMkLst>
        </pc:spChg>
        <pc:spChg chg="mod">
          <ac:chgData name="Michael Wiley" userId="c47109c9-80e8-471c-a0d8-79372bbb0a30" providerId="ADAL" clId="{B5FEA6F6-4EF4-4247-A42B-BE1418B751B5}" dt="2021-08-23T19:34:38.499" v="1253" actId="20577"/>
          <ac:spMkLst>
            <pc:docMk/>
            <pc:sldMk cId="1111006109" sldId="293"/>
            <ac:spMk id="15" creationId="{00000000-0000-0000-0000-000000000000}"/>
          </ac:spMkLst>
        </pc:spChg>
        <pc:spChg chg="mod">
          <ac:chgData name="Michael Wiley" userId="c47109c9-80e8-471c-a0d8-79372bbb0a30" providerId="ADAL" clId="{B5FEA6F6-4EF4-4247-A42B-BE1418B751B5}" dt="2021-08-23T19:29:40.621" v="1194" actId="207"/>
          <ac:spMkLst>
            <pc:docMk/>
            <pc:sldMk cId="1111006109" sldId="293"/>
            <ac:spMk id="17" creationId="{00000000-0000-0000-0000-000000000000}"/>
          </ac:spMkLst>
        </pc:spChg>
        <pc:spChg chg="mod">
          <ac:chgData name="Michael Wiley" userId="c47109c9-80e8-471c-a0d8-79372bbb0a30" providerId="ADAL" clId="{B5FEA6F6-4EF4-4247-A42B-BE1418B751B5}" dt="2021-08-23T19:29:47.774" v="1195" actId="207"/>
          <ac:spMkLst>
            <pc:docMk/>
            <pc:sldMk cId="1111006109" sldId="293"/>
            <ac:spMk id="19" creationId="{00000000-0000-0000-0000-000000000000}"/>
          </ac:spMkLst>
        </pc:spChg>
        <pc:spChg chg="add del mod">
          <ac:chgData name="Michael Wiley" userId="c47109c9-80e8-471c-a0d8-79372bbb0a30" providerId="ADAL" clId="{B5FEA6F6-4EF4-4247-A42B-BE1418B751B5}" dt="2021-08-23T19:32:59.271" v="1201"/>
          <ac:spMkLst>
            <pc:docMk/>
            <pc:sldMk cId="1111006109" sldId="293"/>
            <ac:spMk id="20" creationId="{BFE8055F-58E6-4231-89EE-930068D30894}"/>
          </ac:spMkLst>
        </pc:spChg>
      </pc:sldChg>
      <pc:sldChg chg="modSp mod">
        <pc:chgData name="Michael Wiley" userId="c47109c9-80e8-471c-a0d8-79372bbb0a30" providerId="ADAL" clId="{B5FEA6F6-4EF4-4247-A42B-BE1418B751B5}" dt="2021-08-23T19:08:44.560" v="978" actId="6549"/>
        <pc:sldMkLst>
          <pc:docMk/>
          <pc:sldMk cId="999495629" sldId="297"/>
        </pc:sldMkLst>
        <pc:spChg chg="mod">
          <ac:chgData name="Michael Wiley" userId="c47109c9-80e8-471c-a0d8-79372bbb0a30" providerId="ADAL" clId="{B5FEA6F6-4EF4-4247-A42B-BE1418B751B5}" dt="2021-08-23T19:08:44.560" v="978" actId="6549"/>
          <ac:spMkLst>
            <pc:docMk/>
            <pc:sldMk cId="999495629" sldId="297"/>
            <ac:spMk id="3" creationId="{00000000-0000-0000-0000-000000000000}"/>
          </ac:spMkLst>
        </pc:spChg>
        <pc:spChg chg="mod">
          <ac:chgData name="Michael Wiley" userId="c47109c9-80e8-471c-a0d8-79372bbb0a30" providerId="ADAL" clId="{B5FEA6F6-4EF4-4247-A42B-BE1418B751B5}" dt="2021-08-23T19:08:05.495" v="968" actId="20577"/>
          <ac:spMkLst>
            <pc:docMk/>
            <pc:sldMk cId="999495629" sldId="297"/>
            <ac:spMk id="8" creationId="{116F3ADC-E186-4D2D-9DAE-25E1A8C8A149}"/>
          </ac:spMkLst>
        </pc:spChg>
      </pc:sldChg>
      <pc:sldChg chg="modSp mod">
        <pc:chgData name="Michael Wiley" userId="c47109c9-80e8-471c-a0d8-79372bbb0a30" providerId="ADAL" clId="{B5FEA6F6-4EF4-4247-A42B-BE1418B751B5}" dt="2021-09-13T13:08:43.221" v="1301" actId="6549"/>
        <pc:sldMkLst>
          <pc:docMk/>
          <pc:sldMk cId="3113678837" sldId="312"/>
        </pc:sldMkLst>
        <pc:spChg chg="mod">
          <ac:chgData name="Michael Wiley" userId="c47109c9-80e8-471c-a0d8-79372bbb0a30" providerId="ADAL" clId="{B5FEA6F6-4EF4-4247-A42B-BE1418B751B5}" dt="2021-09-13T13:08:43.221" v="1301" actId="6549"/>
          <ac:spMkLst>
            <pc:docMk/>
            <pc:sldMk cId="3113678837" sldId="312"/>
            <ac:spMk id="4" creationId="{9CBC6F63-616D-478D-A91D-8B071350BF64}"/>
          </ac:spMkLst>
        </pc:spChg>
      </pc:sldChg>
      <pc:sldChg chg="mod modShow">
        <pc:chgData name="Michael Wiley" userId="c47109c9-80e8-471c-a0d8-79372bbb0a30" providerId="ADAL" clId="{B5FEA6F6-4EF4-4247-A42B-BE1418B751B5}" dt="2021-10-01T13:45:49.863" v="2984" actId="729"/>
        <pc:sldMkLst>
          <pc:docMk/>
          <pc:sldMk cId="504677626" sldId="313"/>
        </pc:sldMkLst>
      </pc:sldChg>
      <pc:sldChg chg="ord">
        <pc:chgData name="Michael Wiley" userId="c47109c9-80e8-471c-a0d8-79372bbb0a30" providerId="ADAL" clId="{B5FEA6F6-4EF4-4247-A42B-BE1418B751B5}" dt="2021-10-01T13:45:15.192" v="2983"/>
        <pc:sldMkLst>
          <pc:docMk/>
          <pc:sldMk cId="1594437921" sldId="316"/>
        </pc:sldMkLst>
      </pc:sldChg>
      <pc:sldChg chg="modSp mod">
        <pc:chgData name="Michael Wiley" userId="c47109c9-80e8-471c-a0d8-79372bbb0a30" providerId="ADAL" clId="{B5FEA6F6-4EF4-4247-A42B-BE1418B751B5}" dt="2021-08-23T19:18:05.676" v="1144"/>
        <pc:sldMkLst>
          <pc:docMk/>
          <pc:sldMk cId="2737677687" sldId="324"/>
        </pc:sldMkLst>
        <pc:graphicFrameChg chg="mod modGraphic">
          <ac:chgData name="Michael Wiley" userId="c47109c9-80e8-471c-a0d8-79372bbb0a30" providerId="ADAL" clId="{B5FEA6F6-4EF4-4247-A42B-BE1418B751B5}" dt="2021-08-23T19:18:05.676" v="1144"/>
          <ac:graphicFrameMkLst>
            <pc:docMk/>
            <pc:sldMk cId="2737677687" sldId="324"/>
            <ac:graphicFrameMk id="3" creationId="{D0E0DB5C-7432-4211-B55B-5D6CE03F2884}"/>
          </ac:graphicFrameMkLst>
        </pc:graphicFrameChg>
      </pc:sldChg>
      <pc:sldChg chg="modSp mod">
        <pc:chgData name="Michael Wiley" userId="c47109c9-80e8-471c-a0d8-79372bbb0a30" providerId="ADAL" clId="{B5FEA6F6-4EF4-4247-A42B-BE1418B751B5}" dt="2021-08-23T18:28:09.784" v="67" actId="6549"/>
        <pc:sldMkLst>
          <pc:docMk/>
          <pc:sldMk cId="1882440221" sldId="325"/>
        </pc:sldMkLst>
        <pc:graphicFrameChg chg="mod modGraphic">
          <ac:chgData name="Michael Wiley" userId="c47109c9-80e8-471c-a0d8-79372bbb0a30" providerId="ADAL" clId="{B5FEA6F6-4EF4-4247-A42B-BE1418B751B5}" dt="2021-08-23T18:28:09.784" v="67" actId="6549"/>
          <ac:graphicFrameMkLst>
            <pc:docMk/>
            <pc:sldMk cId="1882440221" sldId="325"/>
            <ac:graphicFrameMk id="2" creationId="{00DFD454-F652-4BA4-B0DA-571743499239}"/>
          </ac:graphicFrameMkLst>
        </pc:graphicFrameChg>
      </pc:sldChg>
      <pc:sldChg chg="del">
        <pc:chgData name="Michael Wiley" userId="c47109c9-80e8-471c-a0d8-79372bbb0a30" providerId="ADAL" clId="{B5FEA6F6-4EF4-4247-A42B-BE1418B751B5}" dt="2021-10-01T13:47:16.561" v="2986" actId="47"/>
        <pc:sldMkLst>
          <pc:docMk/>
          <pc:sldMk cId="286921638" sldId="328"/>
        </pc:sldMkLst>
      </pc:sldChg>
      <pc:sldChg chg="modSp">
        <pc:chgData name="Michael Wiley" userId="c47109c9-80e8-471c-a0d8-79372bbb0a30" providerId="ADAL" clId="{B5FEA6F6-4EF4-4247-A42B-BE1418B751B5}" dt="2021-08-23T18:34:31.224" v="466"/>
        <pc:sldMkLst>
          <pc:docMk/>
          <pc:sldMk cId="719473185" sldId="1733"/>
        </pc:sldMkLst>
        <pc:graphicFrameChg chg="mod">
          <ac:chgData name="Michael Wiley" userId="c47109c9-80e8-471c-a0d8-79372bbb0a30" providerId="ADAL" clId="{B5FEA6F6-4EF4-4247-A42B-BE1418B751B5}" dt="2021-08-23T18:34:31.224" v="466"/>
          <ac:graphicFrameMkLst>
            <pc:docMk/>
            <pc:sldMk cId="719473185" sldId="1733"/>
            <ac:graphicFrameMk id="5" creationId="{00000000-0000-0000-0000-000000000000}"/>
          </ac:graphicFrameMkLst>
        </pc:graphicFrameChg>
      </pc:sldChg>
      <pc:sldChg chg="del">
        <pc:chgData name="Michael Wiley" userId="c47109c9-80e8-471c-a0d8-79372bbb0a30" providerId="ADAL" clId="{B5FEA6F6-4EF4-4247-A42B-BE1418B751B5}" dt="2021-08-23T18:44:25.307" v="690" actId="47"/>
        <pc:sldMkLst>
          <pc:docMk/>
          <pc:sldMk cId="913656372" sldId="1734"/>
        </pc:sldMkLst>
      </pc:sldChg>
      <pc:sldChg chg="modSp mod modNotesTx">
        <pc:chgData name="Michael Wiley" userId="c47109c9-80e8-471c-a0d8-79372bbb0a30" providerId="ADAL" clId="{B5FEA6F6-4EF4-4247-A42B-BE1418B751B5}" dt="2021-08-23T19:15:52.043" v="1113" actId="20577"/>
        <pc:sldMkLst>
          <pc:docMk/>
          <pc:sldMk cId="4005034270" sldId="1735"/>
        </pc:sldMkLst>
        <pc:spChg chg="mod">
          <ac:chgData name="Michael Wiley" userId="c47109c9-80e8-471c-a0d8-79372bbb0a30" providerId="ADAL" clId="{B5FEA6F6-4EF4-4247-A42B-BE1418B751B5}" dt="2021-08-23T19:15:52.043" v="1113" actId="20577"/>
          <ac:spMkLst>
            <pc:docMk/>
            <pc:sldMk cId="4005034270" sldId="1735"/>
            <ac:spMk id="6" creationId="{637E159C-9ACF-48AE-927A-D5FB13695C7F}"/>
          </ac:spMkLst>
        </pc:spChg>
      </pc:sldChg>
      <pc:sldChg chg="modSp">
        <pc:chgData name="Michael Wiley" userId="c47109c9-80e8-471c-a0d8-79372bbb0a30" providerId="ADAL" clId="{B5FEA6F6-4EF4-4247-A42B-BE1418B751B5}" dt="2021-08-23T18:46:00.013" v="700" actId="255"/>
        <pc:sldMkLst>
          <pc:docMk/>
          <pc:sldMk cId="928802381" sldId="1736"/>
        </pc:sldMkLst>
        <pc:graphicFrameChg chg="mod">
          <ac:chgData name="Michael Wiley" userId="c47109c9-80e8-471c-a0d8-79372bbb0a30" providerId="ADAL" clId="{B5FEA6F6-4EF4-4247-A42B-BE1418B751B5}" dt="2021-08-23T18:46:00.013" v="700" actId="255"/>
          <ac:graphicFrameMkLst>
            <pc:docMk/>
            <pc:sldMk cId="928802381" sldId="1736"/>
            <ac:graphicFrameMk id="5" creationId="{00000000-0000-0000-0000-000000000000}"/>
          </ac:graphicFrameMkLst>
        </pc:graphicFrameChg>
      </pc:sldChg>
      <pc:sldChg chg="modSp mod delCm modNotesTx">
        <pc:chgData name="Michael Wiley" userId="c47109c9-80e8-471c-a0d8-79372bbb0a30" providerId="ADAL" clId="{B5FEA6F6-4EF4-4247-A42B-BE1418B751B5}" dt="2021-08-23T19:20:53.732" v="1163"/>
        <pc:sldMkLst>
          <pc:docMk/>
          <pc:sldMk cId="1447259113" sldId="1737"/>
        </pc:sldMkLst>
        <pc:spChg chg="mod">
          <ac:chgData name="Michael Wiley" userId="c47109c9-80e8-471c-a0d8-79372bbb0a30" providerId="ADAL" clId="{B5FEA6F6-4EF4-4247-A42B-BE1418B751B5}" dt="2021-08-23T19:16:46.060" v="1139" actId="20577"/>
          <ac:spMkLst>
            <pc:docMk/>
            <pc:sldMk cId="1447259113" sldId="1737"/>
            <ac:spMk id="2" creationId="{00000000-0000-0000-0000-000000000000}"/>
          </ac:spMkLst>
        </pc:spChg>
        <pc:graphicFrameChg chg="mod modGraphic">
          <ac:chgData name="Michael Wiley" userId="c47109c9-80e8-471c-a0d8-79372bbb0a30" providerId="ADAL" clId="{B5FEA6F6-4EF4-4247-A42B-BE1418B751B5}" dt="2021-08-23T19:20:13.920" v="1160"/>
          <ac:graphicFrameMkLst>
            <pc:docMk/>
            <pc:sldMk cId="1447259113" sldId="1737"/>
            <ac:graphicFrameMk id="3" creationId="{D0E0DB5C-7432-4211-B55B-5D6CE03F2884}"/>
          </ac:graphicFrameMkLst>
        </pc:graphicFrameChg>
      </pc:sldChg>
      <pc:sldChg chg="modSp add del">
        <pc:chgData name="Michael Wiley" userId="c47109c9-80e8-471c-a0d8-79372bbb0a30" providerId="ADAL" clId="{B5FEA6F6-4EF4-4247-A42B-BE1418B751B5}" dt="2021-08-23T19:15:11.868" v="1091" actId="47"/>
        <pc:sldMkLst>
          <pc:docMk/>
          <pc:sldMk cId="3162949924" sldId="1737"/>
        </pc:sldMkLst>
        <pc:graphicFrameChg chg="mod">
          <ac:chgData name="Michael Wiley" userId="c47109c9-80e8-471c-a0d8-79372bbb0a30" providerId="ADAL" clId="{B5FEA6F6-4EF4-4247-A42B-BE1418B751B5}" dt="2021-08-23T19:13:30.996" v="1084"/>
          <ac:graphicFrameMkLst>
            <pc:docMk/>
            <pc:sldMk cId="3162949924" sldId="1737"/>
            <ac:graphicFrameMk id="3" creationId="{D0E0DB5C-7432-4211-B55B-5D6CE03F2884}"/>
          </ac:graphicFrameMkLst>
        </pc:graphicFrameChg>
      </pc:sldChg>
      <pc:sldChg chg="modSp del mod">
        <pc:chgData name="Michael Wiley" userId="c47109c9-80e8-471c-a0d8-79372bbb0a30" providerId="ADAL" clId="{B5FEA6F6-4EF4-4247-A42B-BE1418B751B5}" dt="2021-08-23T19:14:17.387" v="1088"/>
        <pc:sldMkLst>
          <pc:docMk/>
          <pc:sldMk cId="2044711165" sldId="1738"/>
        </pc:sldMkLst>
        <pc:spChg chg="mod">
          <ac:chgData name="Michael Wiley" userId="c47109c9-80e8-471c-a0d8-79372bbb0a30" providerId="ADAL" clId="{B5FEA6F6-4EF4-4247-A42B-BE1418B751B5}" dt="2021-08-23T19:14:15.497" v="1087" actId="20577"/>
          <ac:spMkLst>
            <pc:docMk/>
            <pc:sldMk cId="2044711165" sldId="1738"/>
            <ac:spMk id="2" creationId="{00000000-0000-0000-0000-000000000000}"/>
          </ac:spMkLst>
        </pc:spChg>
      </pc:sldChg>
      <pc:sldChg chg="mod modShow">
        <pc:chgData name="Michael Wiley" userId="c47109c9-80e8-471c-a0d8-79372bbb0a30" providerId="ADAL" clId="{B5FEA6F6-4EF4-4247-A42B-BE1418B751B5}" dt="2021-09-13T18:54:24.166" v="1534" actId="729"/>
        <pc:sldMkLst>
          <pc:docMk/>
          <pc:sldMk cId="4005748821" sldId="1738"/>
        </pc:sldMkLst>
      </pc:sldChg>
      <pc:sldChg chg="addSp delSp modSp mod ord modShow">
        <pc:chgData name="Michael Wiley" userId="c47109c9-80e8-471c-a0d8-79372bbb0a30" providerId="ADAL" clId="{B5FEA6F6-4EF4-4247-A42B-BE1418B751B5}" dt="2021-10-01T13:29:35.548" v="2935"/>
        <pc:sldMkLst>
          <pc:docMk/>
          <pc:sldMk cId="3560094584" sldId="1739"/>
        </pc:sldMkLst>
        <pc:spChg chg="mod">
          <ac:chgData name="Michael Wiley" userId="c47109c9-80e8-471c-a0d8-79372bbb0a30" providerId="ADAL" clId="{B5FEA6F6-4EF4-4247-A42B-BE1418B751B5}" dt="2021-09-13T18:44:53.715" v="1489" actId="1076"/>
          <ac:spMkLst>
            <pc:docMk/>
            <pc:sldMk cId="3560094584" sldId="1739"/>
            <ac:spMk id="3" creationId="{5D7DFDC2-9070-4DB0-AF0B-A6F3BCFD7896}"/>
          </ac:spMkLst>
        </pc:spChg>
        <pc:spChg chg="mod">
          <ac:chgData name="Michael Wiley" userId="c47109c9-80e8-471c-a0d8-79372bbb0a30" providerId="ADAL" clId="{B5FEA6F6-4EF4-4247-A42B-BE1418B751B5}" dt="2021-09-13T18:28:47.653" v="1379" actId="1076"/>
          <ac:spMkLst>
            <pc:docMk/>
            <pc:sldMk cId="3560094584" sldId="1739"/>
            <ac:spMk id="4" creationId="{ACF473D4-13E8-498E-9E36-3A53D24E0E49}"/>
          </ac:spMkLst>
        </pc:spChg>
        <pc:spChg chg="mod">
          <ac:chgData name="Michael Wiley" userId="c47109c9-80e8-471c-a0d8-79372bbb0a30" providerId="ADAL" clId="{B5FEA6F6-4EF4-4247-A42B-BE1418B751B5}" dt="2021-09-13T18:37:35.541" v="1425" actId="1076"/>
          <ac:spMkLst>
            <pc:docMk/>
            <pc:sldMk cId="3560094584" sldId="1739"/>
            <ac:spMk id="5" creationId="{C5B82EAC-A7C5-4EF4-B27E-3920FA375F5C}"/>
          </ac:spMkLst>
        </pc:spChg>
        <pc:spChg chg="mod">
          <ac:chgData name="Michael Wiley" userId="c47109c9-80e8-471c-a0d8-79372bbb0a30" providerId="ADAL" clId="{B5FEA6F6-4EF4-4247-A42B-BE1418B751B5}" dt="2021-09-13T18:39:53.189" v="1438" actId="1076"/>
          <ac:spMkLst>
            <pc:docMk/>
            <pc:sldMk cId="3560094584" sldId="1739"/>
            <ac:spMk id="6" creationId="{B653218E-2448-4F26-BB6B-0D695142DA52}"/>
          </ac:spMkLst>
        </pc:spChg>
        <pc:spChg chg="del mod">
          <ac:chgData name="Michael Wiley" userId="c47109c9-80e8-471c-a0d8-79372bbb0a30" providerId="ADAL" clId="{B5FEA6F6-4EF4-4247-A42B-BE1418B751B5}" dt="2021-09-13T18:54:08.281" v="1533" actId="478"/>
          <ac:spMkLst>
            <pc:docMk/>
            <pc:sldMk cId="3560094584" sldId="1739"/>
            <ac:spMk id="7" creationId="{2696E2CF-A96C-44C0-8BA1-1CCAC3158EC1}"/>
          </ac:spMkLst>
        </pc:spChg>
        <pc:spChg chg="add mod">
          <ac:chgData name="Michael Wiley" userId="c47109c9-80e8-471c-a0d8-79372bbb0a30" providerId="ADAL" clId="{B5FEA6F6-4EF4-4247-A42B-BE1418B751B5}" dt="2021-09-20T19:51:44.939" v="2396" actId="113"/>
          <ac:spMkLst>
            <pc:docMk/>
            <pc:sldMk cId="3560094584" sldId="1739"/>
            <ac:spMk id="7" creationId="{7DEF8A5A-37E0-407B-9488-7C6F0FDCFB38}"/>
          </ac:spMkLst>
        </pc:spChg>
        <pc:spChg chg="add mod">
          <ac:chgData name="Michael Wiley" userId="c47109c9-80e8-471c-a0d8-79372bbb0a30" providerId="ADAL" clId="{B5FEA6F6-4EF4-4247-A42B-BE1418B751B5}" dt="2021-09-20T19:52:01.921" v="2402" actId="6549"/>
          <ac:spMkLst>
            <pc:docMk/>
            <pc:sldMk cId="3560094584" sldId="1739"/>
            <ac:spMk id="8" creationId="{4BEE56F2-4376-423A-82A2-409545CD4692}"/>
          </ac:spMkLst>
        </pc:spChg>
        <pc:spChg chg="del mod">
          <ac:chgData name="Michael Wiley" userId="c47109c9-80e8-471c-a0d8-79372bbb0a30" providerId="ADAL" clId="{B5FEA6F6-4EF4-4247-A42B-BE1418B751B5}" dt="2021-09-13T18:54:07.324" v="1532" actId="478"/>
          <ac:spMkLst>
            <pc:docMk/>
            <pc:sldMk cId="3560094584" sldId="1739"/>
            <ac:spMk id="8" creationId="{8407C53F-8B65-42B0-ACA2-31C86004400A}"/>
          </ac:spMkLst>
        </pc:spChg>
        <pc:spChg chg="mod">
          <ac:chgData name="Michael Wiley" userId="c47109c9-80e8-471c-a0d8-79372bbb0a30" providerId="ADAL" clId="{B5FEA6F6-4EF4-4247-A42B-BE1418B751B5}" dt="2021-09-13T18:39:33.580" v="1436" actId="1076"/>
          <ac:spMkLst>
            <pc:docMk/>
            <pc:sldMk cId="3560094584" sldId="1739"/>
            <ac:spMk id="22" creationId="{9A6D8951-34AF-4661-AEF6-10BE78E67643}"/>
          </ac:spMkLst>
        </pc:spChg>
        <pc:spChg chg="add del mod">
          <ac:chgData name="Michael Wiley" userId="c47109c9-80e8-471c-a0d8-79372bbb0a30" providerId="ADAL" clId="{B5FEA6F6-4EF4-4247-A42B-BE1418B751B5}" dt="2021-09-13T18:52:24.119" v="1525" actId="478"/>
          <ac:spMkLst>
            <pc:docMk/>
            <pc:sldMk cId="3560094584" sldId="1739"/>
            <ac:spMk id="70" creationId="{CD648723-EBA5-4898-B13D-8E38F56B54D2}"/>
          </ac:spMkLst>
        </pc:spChg>
        <pc:spChg chg="add del">
          <ac:chgData name="Michael Wiley" userId="c47109c9-80e8-471c-a0d8-79372bbb0a30" providerId="ADAL" clId="{B5FEA6F6-4EF4-4247-A42B-BE1418B751B5}" dt="2021-09-13T18:50:48.600" v="1521" actId="478"/>
          <ac:spMkLst>
            <pc:docMk/>
            <pc:sldMk cId="3560094584" sldId="1739"/>
            <ac:spMk id="71" creationId="{1B8A1365-83BD-4B5D-8ACB-7AB892279549}"/>
          </ac:spMkLst>
        </pc:spChg>
        <pc:graphicFrameChg chg="add del mod modGraphic">
          <ac:chgData name="Michael Wiley" userId="c47109c9-80e8-471c-a0d8-79372bbb0a30" providerId="ADAL" clId="{B5FEA6F6-4EF4-4247-A42B-BE1418B751B5}" dt="2021-09-13T18:36:48.960" v="1418" actId="478"/>
          <ac:graphicFrameMkLst>
            <pc:docMk/>
            <pc:sldMk cId="3560094584" sldId="1739"/>
            <ac:graphicFrameMk id="33" creationId="{61D6EB5D-4AEF-4766-9A4B-898070E140C5}"/>
          </ac:graphicFrameMkLst>
        </pc:graphicFrameChg>
        <pc:picChg chg="add del mod">
          <ac:chgData name="Michael Wiley" userId="c47109c9-80e8-471c-a0d8-79372bbb0a30" providerId="ADAL" clId="{B5FEA6F6-4EF4-4247-A42B-BE1418B751B5}" dt="2021-09-13T18:36:45.515" v="1417" actId="478"/>
          <ac:picMkLst>
            <pc:docMk/>
            <pc:sldMk cId="3560094584" sldId="1739"/>
            <ac:picMk id="35" creationId="{C3941E53-F58F-450B-9888-3DEAE380CADA}"/>
          </ac:picMkLst>
        </pc:picChg>
        <pc:picChg chg="add del mod">
          <ac:chgData name="Michael Wiley" userId="c47109c9-80e8-471c-a0d8-79372bbb0a30" providerId="ADAL" clId="{B5FEA6F6-4EF4-4247-A42B-BE1418B751B5}" dt="2021-09-13T18:36:32.250" v="1415" actId="478"/>
          <ac:picMkLst>
            <pc:docMk/>
            <pc:sldMk cId="3560094584" sldId="1739"/>
            <ac:picMk id="37" creationId="{55571B54-4215-4394-9EFE-08F32EA0B935}"/>
          </ac:picMkLst>
        </pc:picChg>
        <pc:picChg chg="add del mod">
          <ac:chgData name="Michael Wiley" userId="c47109c9-80e8-471c-a0d8-79372bbb0a30" providerId="ADAL" clId="{B5FEA6F6-4EF4-4247-A42B-BE1418B751B5}" dt="2021-09-13T18:41:51.945" v="1446" actId="478"/>
          <ac:picMkLst>
            <pc:docMk/>
            <pc:sldMk cId="3560094584" sldId="1739"/>
            <ac:picMk id="66" creationId="{87448061-2A2C-4909-AB53-02E061610992}"/>
          </ac:picMkLst>
        </pc:picChg>
        <pc:picChg chg="add del mod">
          <ac:chgData name="Michael Wiley" userId="c47109c9-80e8-471c-a0d8-79372bbb0a30" providerId="ADAL" clId="{B5FEA6F6-4EF4-4247-A42B-BE1418B751B5}" dt="2021-09-13T18:41:51.945" v="1446" actId="478"/>
          <ac:picMkLst>
            <pc:docMk/>
            <pc:sldMk cId="3560094584" sldId="1739"/>
            <ac:picMk id="68" creationId="{1417E5E7-B71A-43EC-BC5B-E6ECE8FBBF63}"/>
          </ac:picMkLst>
        </pc:picChg>
        <pc:picChg chg="add mod">
          <ac:chgData name="Michael Wiley" userId="c47109c9-80e8-471c-a0d8-79372bbb0a30" providerId="ADAL" clId="{B5FEA6F6-4EF4-4247-A42B-BE1418B751B5}" dt="2021-09-13T18:53:57.444" v="1531" actId="1076"/>
          <ac:picMkLst>
            <pc:docMk/>
            <pc:sldMk cId="3560094584" sldId="1739"/>
            <ac:picMk id="73" creationId="{C92004FD-9ED3-437B-AE80-7F36FB831685}"/>
          </ac:picMkLst>
        </pc:picChg>
        <pc:picChg chg="add mod">
          <ac:chgData name="Michael Wiley" userId="c47109c9-80e8-471c-a0d8-79372bbb0a30" providerId="ADAL" clId="{B5FEA6F6-4EF4-4247-A42B-BE1418B751B5}" dt="2021-09-13T18:52:49.954" v="1528" actId="207"/>
          <ac:picMkLst>
            <pc:docMk/>
            <pc:sldMk cId="3560094584" sldId="1739"/>
            <ac:picMk id="75" creationId="{0BB412C6-1E5C-4271-9B31-B9B4A17A4725}"/>
          </ac:picMkLst>
        </pc:picChg>
        <pc:picChg chg="add del mod">
          <ac:chgData name="Michael Wiley" userId="c47109c9-80e8-471c-a0d8-79372bbb0a30" providerId="ADAL" clId="{B5FEA6F6-4EF4-4247-A42B-BE1418B751B5}" dt="2021-09-13T18:56:34.062" v="1538" actId="478"/>
          <ac:picMkLst>
            <pc:docMk/>
            <pc:sldMk cId="3560094584" sldId="1739"/>
            <ac:picMk id="77" creationId="{3002BE40-2950-4645-BCCF-CCA5C05E5136}"/>
          </ac:picMkLst>
        </pc:picChg>
        <pc:picChg chg="add del mod">
          <ac:chgData name="Michael Wiley" userId="c47109c9-80e8-471c-a0d8-79372bbb0a30" providerId="ADAL" clId="{B5FEA6F6-4EF4-4247-A42B-BE1418B751B5}" dt="2021-09-13T19:55:05.491" v="1606" actId="478"/>
          <ac:picMkLst>
            <pc:docMk/>
            <pc:sldMk cId="3560094584" sldId="1739"/>
            <ac:picMk id="79" creationId="{8A903047-BD8E-4069-BD15-B0FDD9352D08}"/>
          </ac:picMkLst>
        </pc:picChg>
        <pc:cxnChg chg="add mod">
          <ac:chgData name="Michael Wiley" userId="c47109c9-80e8-471c-a0d8-79372bbb0a30" providerId="ADAL" clId="{B5FEA6F6-4EF4-4247-A42B-BE1418B751B5}" dt="2021-09-13T18:45:00.757" v="1490" actId="692"/>
          <ac:cxnSpMkLst>
            <pc:docMk/>
            <pc:sldMk cId="3560094584" sldId="1739"/>
            <ac:cxnSpMk id="19" creationId="{6A68AA3C-E71E-4E28-8FE6-35805C6B4E5A}"/>
          </ac:cxnSpMkLst>
        </pc:cxnChg>
        <pc:cxnChg chg="add mod">
          <ac:chgData name="Michael Wiley" userId="c47109c9-80e8-471c-a0d8-79372bbb0a30" providerId="ADAL" clId="{B5FEA6F6-4EF4-4247-A42B-BE1418B751B5}" dt="2021-09-13T18:44:28.035" v="1487" actId="692"/>
          <ac:cxnSpMkLst>
            <pc:docMk/>
            <pc:sldMk cId="3560094584" sldId="1739"/>
            <ac:cxnSpMk id="21" creationId="{D040CE5A-02DE-4D1A-A13B-06F7398182FB}"/>
          </ac:cxnSpMkLst>
        </pc:cxnChg>
        <pc:cxnChg chg="del">
          <ac:chgData name="Michael Wiley" userId="c47109c9-80e8-471c-a0d8-79372bbb0a30" providerId="ADAL" clId="{B5FEA6F6-4EF4-4247-A42B-BE1418B751B5}" dt="2021-09-13T18:28:41.574" v="1378" actId="478"/>
          <ac:cxnSpMkLst>
            <pc:docMk/>
            <pc:sldMk cId="3560094584" sldId="1739"/>
            <ac:cxnSpMk id="24" creationId="{BBDD137D-5EB3-4CB8-91AF-26910762D641}"/>
          </ac:cxnSpMkLst>
        </pc:cxnChg>
        <pc:cxnChg chg="del mod">
          <ac:chgData name="Michael Wiley" userId="c47109c9-80e8-471c-a0d8-79372bbb0a30" providerId="ADAL" clId="{B5FEA6F6-4EF4-4247-A42B-BE1418B751B5}" dt="2021-09-13T18:27:31.823" v="1372" actId="478"/>
          <ac:cxnSpMkLst>
            <pc:docMk/>
            <pc:sldMk cId="3560094584" sldId="1739"/>
            <ac:cxnSpMk id="26" creationId="{90D753E7-BE16-4030-98E6-A79C93867CAC}"/>
          </ac:cxnSpMkLst>
        </pc:cxnChg>
        <pc:cxnChg chg="del mod">
          <ac:chgData name="Michael Wiley" userId="c47109c9-80e8-471c-a0d8-79372bbb0a30" providerId="ADAL" clId="{B5FEA6F6-4EF4-4247-A42B-BE1418B751B5}" dt="2021-09-13T18:27:26.100" v="1369" actId="478"/>
          <ac:cxnSpMkLst>
            <pc:docMk/>
            <pc:sldMk cId="3560094584" sldId="1739"/>
            <ac:cxnSpMk id="44" creationId="{A0616FDB-99E1-460F-809F-C0895FD7DD71}"/>
          </ac:cxnSpMkLst>
        </pc:cxnChg>
        <pc:cxnChg chg="del mod">
          <ac:chgData name="Michael Wiley" userId="c47109c9-80e8-471c-a0d8-79372bbb0a30" providerId="ADAL" clId="{B5FEA6F6-4EF4-4247-A42B-BE1418B751B5}" dt="2021-09-13T18:24:09.656" v="1350" actId="478"/>
          <ac:cxnSpMkLst>
            <pc:docMk/>
            <pc:sldMk cId="3560094584" sldId="1739"/>
            <ac:cxnSpMk id="46" creationId="{F04A19A5-7DD6-4C29-91F7-E7EC7B96AD72}"/>
          </ac:cxnSpMkLst>
        </pc:cxnChg>
        <pc:cxnChg chg="add del mod">
          <ac:chgData name="Michael Wiley" userId="c47109c9-80e8-471c-a0d8-79372bbb0a30" providerId="ADAL" clId="{B5FEA6F6-4EF4-4247-A42B-BE1418B751B5}" dt="2021-09-13T18:38:34.557" v="1430" actId="478"/>
          <ac:cxnSpMkLst>
            <pc:docMk/>
            <pc:sldMk cId="3560094584" sldId="1739"/>
            <ac:cxnSpMk id="48" creationId="{C997A917-4484-4794-8A6F-26C02A247977}"/>
          </ac:cxnSpMkLst>
        </pc:cxnChg>
        <pc:cxnChg chg="del mod">
          <ac:chgData name="Michael Wiley" userId="c47109c9-80e8-471c-a0d8-79372bbb0a30" providerId="ADAL" clId="{B5FEA6F6-4EF4-4247-A42B-BE1418B751B5}" dt="2021-09-13T18:27:30.331" v="1371" actId="478"/>
          <ac:cxnSpMkLst>
            <pc:docMk/>
            <pc:sldMk cId="3560094584" sldId="1739"/>
            <ac:cxnSpMk id="50" creationId="{A5348538-3537-4172-A298-B1A0C13E8472}"/>
          </ac:cxnSpMkLst>
        </pc:cxnChg>
        <pc:cxnChg chg="add mod">
          <ac:chgData name="Michael Wiley" userId="c47109c9-80e8-471c-a0d8-79372bbb0a30" providerId="ADAL" clId="{B5FEA6F6-4EF4-4247-A42B-BE1418B751B5}" dt="2021-09-13T18:45:48.721" v="1497" actId="692"/>
          <ac:cxnSpMkLst>
            <pc:docMk/>
            <pc:sldMk cId="3560094584" sldId="1739"/>
            <ac:cxnSpMk id="51" creationId="{D6FD677E-4549-4362-995C-3662A5E3ACED}"/>
          </ac:cxnSpMkLst>
        </pc:cxnChg>
        <pc:cxnChg chg="add mod">
          <ac:chgData name="Michael Wiley" userId="c47109c9-80e8-471c-a0d8-79372bbb0a30" providerId="ADAL" clId="{B5FEA6F6-4EF4-4247-A42B-BE1418B751B5}" dt="2021-09-13T18:45:33.626" v="1495" actId="692"/>
          <ac:cxnSpMkLst>
            <pc:docMk/>
            <pc:sldMk cId="3560094584" sldId="1739"/>
            <ac:cxnSpMk id="53" creationId="{A2FE32EC-9AD6-4532-95D7-0E91745560A7}"/>
          </ac:cxnSpMkLst>
        </pc:cxnChg>
        <pc:cxnChg chg="mod">
          <ac:chgData name="Michael Wiley" userId="c47109c9-80e8-471c-a0d8-79372bbb0a30" providerId="ADAL" clId="{B5FEA6F6-4EF4-4247-A42B-BE1418B751B5}" dt="2021-09-13T18:45:13.108" v="1492" actId="692"/>
          <ac:cxnSpMkLst>
            <pc:docMk/>
            <pc:sldMk cId="3560094584" sldId="1739"/>
            <ac:cxnSpMk id="55" creationId="{86C16418-4C60-4BD6-B185-75CB4BE395EF}"/>
          </ac:cxnSpMkLst>
        </pc:cxnChg>
        <pc:cxnChg chg="add mod">
          <ac:chgData name="Michael Wiley" userId="c47109c9-80e8-471c-a0d8-79372bbb0a30" providerId="ADAL" clId="{B5FEA6F6-4EF4-4247-A42B-BE1418B751B5}" dt="2021-09-13T18:46:00.957" v="1499" actId="692"/>
          <ac:cxnSpMkLst>
            <pc:docMk/>
            <pc:sldMk cId="3560094584" sldId="1739"/>
            <ac:cxnSpMk id="57" creationId="{CA7D0A82-D048-4983-841A-EFEB23C8892D}"/>
          </ac:cxnSpMkLst>
        </pc:cxnChg>
      </pc:sldChg>
      <pc:sldChg chg="del">
        <pc:chgData name="Michael Wiley" userId="c47109c9-80e8-471c-a0d8-79372bbb0a30" providerId="ADAL" clId="{B5FEA6F6-4EF4-4247-A42B-BE1418B751B5}" dt="2021-10-01T13:31:20.859" v="2936" actId="47"/>
        <pc:sldMkLst>
          <pc:docMk/>
          <pc:sldMk cId="4127730679" sldId="1741"/>
        </pc:sldMkLst>
      </pc:sldChg>
      <pc:sldChg chg="addSp delSp modSp mod modClrScheme chgLayout modNotesTx">
        <pc:chgData name="Michael Wiley" userId="c47109c9-80e8-471c-a0d8-79372bbb0a30" providerId="ADAL" clId="{B5FEA6F6-4EF4-4247-A42B-BE1418B751B5}" dt="2021-10-01T13:42:10.204" v="2978" actId="26606"/>
        <pc:sldMkLst>
          <pc:docMk/>
          <pc:sldMk cId="1967107824" sldId="1743"/>
        </pc:sldMkLst>
        <pc:spChg chg="mod">
          <ac:chgData name="Michael Wiley" userId="c47109c9-80e8-471c-a0d8-79372bbb0a30" providerId="ADAL" clId="{B5FEA6F6-4EF4-4247-A42B-BE1418B751B5}" dt="2021-10-01T13:42:10.204" v="2978" actId="26606"/>
          <ac:spMkLst>
            <pc:docMk/>
            <pc:sldMk cId="1967107824" sldId="1743"/>
            <ac:spMk id="2" creationId="{00000000-0000-0000-0000-000000000000}"/>
          </ac:spMkLst>
        </pc:spChg>
        <pc:spChg chg="add del mod">
          <ac:chgData name="Michael Wiley" userId="c47109c9-80e8-471c-a0d8-79372bbb0a30" providerId="ADAL" clId="{B5FEA6F6-4EF4-4247-A42B-BE1418B751B5}" dt="2021-10-01T13:37:51.361" v="2949" actId="478"/>
          <ac:spMkLst>
            <pc:docMk/>
            <pc:sldMk cId="1967107824" sldId="1743"/>
            <ac:spMk id="8" creationId="{5E481899-E299-4747-BFBE-3B962F6B7209}"/>
          </ac:spMkLst>
        </pc:spChg>
        <pc:graphicFrameChg chg="mod modGraphic">
          <ac:chgData name="Michael Wiley" userId="c47109c9-80e8-471c-a0d8-79372bbb0a30" providerId="ADAL" clId="{B5FEA6F6-4EF4-4247-A42B-BE1418B751B5}" dt="2021-10-01T13:42:10.204" v="2978" actId="26606"/>
          <ac:graphicFrameMkLst>
            <pc:docMk/>
            <pc:sldMk cId="1967107824" sldId="1743"/>
            <ac:graphicFrameMk id="3" creationId="{D0E0DB5C-7432-4211-B55B-5D6CE03F2884}"/>
          </ac:graphicFrameMkLst>
        </pc:graphicFrameChg>
      </pc:sldChg>
      <pc:sldChg chg="modSp mod">
        <pc:chgData name="Michael Wiley" userId="c47109c9-80e8-471c-a0d8-79372bbb0a30" providerId="ADAL" clId="{B5FEA6F6-4EF4-4247-A42B-BE1418B751B5}" dt="2021-10-01T13:44:29.348" v="2981"/>
        <pc:sldMkLst>
          <pc:docMk/>
          <pc:sldMk cId="4191083559" sldId="1748"/>
        </pc:sldMkLst>
        <pc:spChg chg="mod">
          <ac:chgData name="Michael Wiley" userId="c47109c9-80e8-471c-a0d8-79372bbb0a30" providerId="ADAL" clId="{B5FEA6F6-4EF4-4247-A42B-BE1418B751B5}" dt="2021-09-13T13:08:53.907" v="1309" actId="5793"/>
          <ac:spMkLst>
            <pc:docMk/>
            <pc:sldMk cId="4191083559" sldId="1748"/>
            <ac:spMk id="2" creationId="{00000000-0000-0000-0000-000000000000}"/>
          </ac:spMkLst>
        </pc:spChg>
        <pc:graphicFrameChg chg="mod">
          <ac:chgData name="Michael Wiley" userId="c47109c9-80e8-471c-a0d8-79372bbb0a30" providerId="ADAL" clId="{B5FEA6F6-4EF4-4247-A42B-BE1418B751B5}" dt="2021-10-01T13:44:29.348" v="2981"/>
          <ac:graphicFrameMkLst>
            <pc:docMk/>
            <pc:sldMk cId="4191083559" sldId="1748"/>
            <ac:graphicFrameMk id="3" creationId="{D0E0DB5C-7432-4211-B55B-5D6CE03F2884}"/>
          </ac:graphicFrameMkLst>
        </pc:graphicFrameChg>
      </pc:sldChg>
      <pc:sldChg chg="addCm">
        <pc:chgData name="Michael Wiley" userId="c47109c9-80e8-471c-a0d8-79372bbb0a30" providerId="ADAL" clId="{B5FEA6F6-4EF4-4247-A42B-BE1418B751B5}" dt="2021-10-01T13:46:54.137" v="2985"/>
        <pc:sldMkLst>
          <pc:docMk/>
          <pc:sldMk cId="92468747" sldId="1749"/>
        </pc:sldMkLst>
      </pc:sldChg>
      <pc:sldChg chg="ord">
        <pc:chgData name="Michael Wiley" userId="c47109c9-80e8-471c-a0d8-79372bbb0a30" providerId="ADAL" clId="{B5FEA6F6-4EF4-4247-A42B-BE1418B751B5}" dt="2021-10-01T13:47:25.495" v="2988"/>
        <pc:sldMkLst>
          <pc:docMk/>
          <pc:sldMk cId="1748862827" sldId="1750"/>
        </pc:sldMkLst>
      </pc:sldChg>
      <pc:sldChg chg="modSp mod modAnim">
        <pc:chgData name="Michael Wiley" userId="c47109c9-80e8-471c-a0d8-79372bbb0a30" providerId="ADAL" clId="{B5FEA6F6-4EF4-4247-A42B-BE1418B751B5}" dt="2021-09-13T17:58:37.359" v="1314" actId="1076"/>
        <pc:sldMkLst>
          <pc:docMk/>
          <pc:sldMk cId="1857600075" sldId="1751"/>
        </pc:sldMkLst>
        <pc:spChg chg="mod">
          <ac:chgData name="Michael Wiley" userId="c47109c9-80e8-471c-a0d8-79372bbb0a30" providerId="ADAL" clId="{B5FEA6F6-4EF4-4247-A42B-BE1418B751B5}" dt="2021-09-13T17:58:37.359" v="1314" actId="1076"/>
          <ac:spMkLst>
            <pc:docMk/>
            <pc:sldMk cId="1857600075" sldId="1751"/>
            <ac:spMk id="4" creationId="{70C1CFD3-CF7E-462C-B776-F886775FFEB9}"/>
          </ac:spMkLst>
        </pc:spChg>
        <pc:spChg chg="mod">
          <ac:chgData name="Michael Wiley" userId="c47109c9-80e8-471c-a0d8-79372bbb0a30" providerId="ADAL" clId="{B5FEA6F6-4EF4-4247-A42B-BE1418B751B5}" dt="2021-09-13T13:02:44.813" v="1254" actId="17032"/>
          <ac:spMkLst>
            <pc:docMk/>
            <pc:sldMk cId="1857600075" sldId="1751"/>
            <ac:spMk id="6" creationId="{5AB369B3-4BB7-473C-96C7-4084A3A3D6E8}"/>
          </ac:spMkLst>
        </pc:spChg>
        <pc:spChg chg="mod">
          <ac:chgData name="Michael Wiley" userId="c47109c9-80e8-471c-a0d8-79372bbb0a30" providerId="ADAL" clId="{B5FEA6F6-4EF4-4247-A42B-BE1418B751B5}" dt="2021-09-13T17:58:31.829" v="1313" actId="1076"/>
          <ac:spMkLst>
            <pc:docMk/>
            <pc:sldMk cId="1857600075" sldId="1751"/>
            <ac:spMk id="12" creationId="{787E219C-D0CC-479F-ACFC-845BD7297DC9}"/>
          </ac:spMkLst>
        </pc:spChg>
        <pc:spChg chg="mod">
          <ac:chgData name="Michael Wiley" userId="c47109c9-80e8-471c-a0d8-79372bbb0a30" providerId="ADAL" clId="{B5FEA6F6-4EF4-4247-A42B-BE1418B751B5}" dt="2021-09-13T13:07:21.974" v="1291" actId="20577"/>
          <ac:spMkLst>
            <pc:docMk/>
            <pc:sldMk cId="1857600075" sldId="1751"/>
            <ac:spMk id="14" creationId="{C53A5CCE-28DC-4161-833B-A0C97956700C}"/>
          </ac:spMkLst>
        </pc:spChg>
      </pc:sldChg>
      <pc:sldChg chg="addSp delSp modSp add del mod modClrScheme chgLayout">
        <pc:chgData name="Michael Wiley" userId="c47109c9-80e8-471c-a0d8-79372bbb0a30" providerId="ADAL" clId="{B5FEA6F6-4EF4-4247-A42B-BE1418B751B5}" dt="2021-09-13T17:54:12.044" v="1312" actId="47"/>
        <pc:sldMkLst>
          <pc:docMk/>
          <pc:sldMk cId="2190731016" sldId="1752"/>
        </pc:sldMkLst>
        <pc:spChg chg="mod">
          <ac:chgData name="Michael Wiley" userId="c47109c9-80e8-471c-a0d8-79372bbb0a30" providerId="ADAL" clId="{B5FEA6F6-4EF4-4247-A42B-BE1418B751B5}" dt="2021-09-13T17:53:44.808" v="1311" actId="26606"/>
          <ac:spMkLst>
            <pc:docMk/>
            <pc:sldMk cId="2190731016" sldId="1752"/>
            <ac:spMk id="2" creationId="{53A63977-4617-413B-86F5-7E49C225DAD0}"/>
          </ac:spMkLst>
        </pc:spChg>
        <pc:spChg chg="mod">
          <ac:chgData name="Michael Wiley" userId="c47109c9-80e8-471c-a0d8-79372bbb0a30" providerId="ADAL" clId="{B5FEA6F6-4EF4-4247-A42B-BE1418B751B5}" dt="2021-09-13T17:53:44.808" v="1311" actId="26606"/>
          <ac:spMkLst>
            <pc:docMk/>
            <pc:sldMk cId="2190731016" sldId="1752"/>
            <ac:spMk id="10" creationId="{00000000-0000-0000-0000-000000000000}"/>
          </ac:spMkLst>
        </pc:spChg>
        <pc:spChg chg="mod ord">
          <ac:chgData name="Michael Wiley" userId="c47109c9-80e8-471c-a0d8-79372bbb0a30" providerId="ADAL" clId="{B5FEA6F6-4EF4-4247-A42B-BE1418B751B5}" dt="2021-09-13T17:53:44.808" v="1311" actId="26606"/>
          <ac:spMkLst>
            <pc:docMk/>
            <pc:sldMk cId="2190731016" sldId="1752"/>
            <ac:spMk id="11" creationId="{FB597160-591E-425E-86D2-FD62313F1471}"/>
          </ac:spMkLst>
        </pc:spChg>
        <pc:spChg chg="del">
          <ac:chgData name="Michael Wiley" userId="c47109c9-80e8-471c-a0d8-79372bbb0a30" providerId="ADAL" clId="{B5FEA6F6-4EF4-4247-A42B-BE1418B751B5}" dt="2021-09-13T17:53:44.808" v="1311" actId="26606"/>
          <ac:spMkLst>
            <pc:docMk/>
            <pc:sldMk cId="2190731016" sldId="1752"/>
            <ac:spMk id="15" creationId="{55FA0F30-D98B-49B2-8612-12A61EA41194}"/>
          </ac:spMkLst>
        </pc:spChg>
        <pc:graphicFrameChg chg="add">
          <ac:chgData name="Michael Wiley" userId="c47109c9-80e8-471c-a0d8-79372bbb0a30" providerId="ADAL" clId="{B5FEA6F6-4EF4-4247-A42B-BE1418B751B5}" dt="2021-09-13T17:53:44.808" v="1311" actId="26606"/>
          <ac:graphicFrameMkLst>
            <pc:docMk/>
            <pc:sldMk cId="2190731016" sldId="1752"/>
            <ac:graphicFrameMk id="17" creationId="{B799256A-4C80-43BD-9BB3-B22B042E04F6}"/>
          </ac:graphicFrameMkLst>
        </pc:graphicFrameChg>
      </pc:sldChg>
      <pc:sldChg chg="addSp delSp modSp add del mod modMedia modClrScheme delAnim modShow chgLayout">
        <pc:chgData name="Michael Wiley" userId="c47109c9-80e8-471c-a0d8-79372bbb0a30" providerId="ADAL" clId="{B5FEA6F6-4EF4-4247-A42B-BE1418B751B5}" dt="2021-09-13T18:54:41.688" v="1536" actId="47"/>
        <pc:sldMkLst>
          <pc:docMk/>
          <pc:sldMk cId="496098744" sldId="1754"/>
        </pc:sldMkLst>
        <pc:spChg chg="mod">
          <ac:chgData name="Michael Wiley" userId="c47109c9-80e8-471c-a0d8-79372bbb0a30" providerId="ADAL" clId="{B5FEA6F6-4EF4-4247-A42B-BE1418B751B5}" dt="2021-09-13T18:18:21.603" v="1338" actId="26606"/>
          <ac:spMkLst>
            <pc:docMk/>
            <pc:sldMk cId="496098744" sldId="1754"/>
            <ac:spMk id="2" creationId="{00000000-0000-0000-0000-000000000000}"/>
          </ac:spMkLst>
        </pc:spChg>
        <pc:spChg chg="del">
          <ac:chgData name="Michael Wiley" userId="c47109c9-80e8-471c-a0d8-79372bbb0a30" providerId="ADAL" clId="{B5FEA6F6-4EF4-4247-A42B-BE1418B751B5}" dt="2021-09-13T18:16:22.849" v="1324" actId="478"/>
          <ac:spMkLst>
            <pc:docMk/>
            <pc:sldMk cId="496098744" sldId="1754"/>
            <ac:spMk id="3" creationId="{5D7DFDC2-9070-4DB0-AF0B-A6F3BCFD7896}"/>
          </ac:spMkLst>
        </pc:spChg>
        <pc:spChg chg="del mod">
          <ac:chgData name="Michael Wiley" userId="c47109c9-80e8-471c-a0d8-79372bbb0a30" providerId="ADAL" clId="{B5FEA6F6-4EF4-4247-A42B-BE1418B751B5}" dt="2021-09-13T18:16:29.290" v="1325" actId="478"/>
          <ac:spMkLst>
            <pc:docMk/>
            <pc:sldMk cId="496098744" sldId="1754"/>
            <ac:spMk id="4" creationId="{ACF473D4-13E8-498E-9E36-3A53D24E0E49}"/>
          </ac:spMkLst>
        </pc:spChg>
        <pc:spChg chg="del mod">
          <ac:chgData name="Michael Wiley" userId="c47109c9-80e8-471c-a0d8-79372bbb0a30" providerId="ADAL" clId="{B5FEA6F6-4EF4-4247-A42B-BE1418B751B5}" dt="2021-09-13T18:16:20.601" v="1323" actId="478"/>
          <ac:spMkLst>
            <pc:docMk/>
            <pc:sldMk cId="496098744" sldId="1754"/>
            <ac:spMk id="5" creationId="{C5B82EAC-A7C5-4EF4-B27E-3920FA375F5C}"/>
          </ac:spMkLst>
        </pc:spChg>
        <pc:spChg chg="del mod">
          <ac:chgData name="Michael Wiley" userId="c47109c9-80e8-471c-a0d8-79372bbb0a30" providerId="ADAL" clId="{B5FEA6F6-4EF4-4247-A42B-BE1418B751B5}" dt="2021-09-13T18:16:29.290" v="1325" actId="478"/>
          <ac:spMkLst>
            <pc:docMk/>
            <pc:sldMk cId="496098744" sldId="1754"/>
            <ac:spMk id="6" creationId="{B653218E-2448-4F26-BB6B-0D695142DA52}"/>
          </ac:spMkLst>
        </pc:spChg>
        <pc:spChg chg="del">
          <ac:chgData name="Michael Wiley" userId="c47109c9-80e8-471c-a0d8-79372bbb0a30" providerId="ADAL" clId="{B5FEA6F6-4EF4-4247-A42B-BE1418B751B5}" dt="2021-09-13T18:16:29.290" v="1325" actId="478"/>
          <ac:spMkLst>
            <pc:docMk/>
            <pc:sldMk cId="496098744" sldId="1754"/>
            <ac:spMk id="7" creationId="{2696E2CF-A96C-44C0-8BA1-1CCAC3158EC1}"/>
          </ac:spMkLst>
        </pc:spChg>
        <pc:spChg chg="del">
          <ac:chgData name="Michael Wiley" userId="c47109c9-80e8-471c-a0d8-79372bbb0a30" providerId="ADAL" clId="{B5FEA6F6-4EF4-4247-A42B-BE1418B751B5}" dt="2021-09-13T18:16:29.290" v="1325" actId="478"/>
          <ac:spMkLst>
            <pc:docMk/>
            <pc:sldMk cId="496098744" sldId="1754"/>
            <ac:spMk id="8" creationId="{8407C53F-8B65-42B0-ACA2-31C86004400A}"/>
          </ac:spMkLst>
        </pc:spChg>
        <pc:spChg chg="del mod">
          <ac:chgData name="Michael Wiley" userId="c47109c9-80e8-471c-a0d8-79372bbb0a30" providerId="ADAL" clId="{B5FEA6F6-4EF4-4247-A42B-BE1418B751B5}" dt="2021-09-13T18:16:29.290" v="1325" actId="478"/>
          <ac:spMkLst>
            <pc:docMk/>
            <pc:sldMk cId="496098744" sldId="1754"/>
            <ac:spMk id="22" creationId="{9A6D8951-34AF-4661-AEF6-10BE78E67643}"/>
          </ac:spMkLst>
        </pc:spChg>
        <pc:spChg chg="add mod">
          <ac:chgData name="Michael Wiley" userId="c47109c9-80e8-471c-a0d8-79372bbb0a30" providerId="ADAL" clId="{B5FEA6F6-4EF4-4247-A42B-BE1418B751B5}" dt="2021-09-13T18:18:21.603" v="1338" actId="26606"/>
          <ac:spMkLst>
            <pc:docMk/>
            <pc:sldMk cId="496098744" sldId="1754"/>
            <ac:spMk id="25" creationId="{622BBED7-6193-4BE9-82D9-FF90CB0BDBD6}"/>
          </ac:spMkLst>
        </pc:spChg>
        <pc:picChg chg="add del mod">
          <ac:chgData name="Michael Wiley" userId="c47109c9-80e8-471c-a0d8-79372bbb0a30" providerId="ADAL" clId="{B5FEA6F6-4EF4-4247-A42B-BE1418B751B5}" dt="2021-09-13T18:17:17.938" v="1332" actId="478"/>
          <ac:picMkLst>
            <pc:docMk/>
            <pc:sldMk cId="496098744" sldId="1754"/>
            <ac:picMk id="14" creationId="{35790E66-9D4B-4489-B9AE-1C8AB6BB19E9}"/>
          </ac:picMkLst>
        </pc:picChg>
        <pc:picChg chg="add del mod">
          <ac:chgData name="Michael Wiley" userId="c47109c9-80e8-471c-a0d8-79372bbb0a30" providerId="ADAL" clId="{B5FEA6F6-4EF4-4247-A42B-BE1418B751B5}" dt="2021-09-13T18:18:21.603" v="1338" actId="26606"/>
          <ac:picMkLst>
            <pc:docMk/>
            <pc:sldMk cId="496098744" sldId="1754"/>
            <ac:picMk id="27" creationId="{DE49E18A-374A-4134-993E-C981C8333C87}"/>
          </ac:picMkLst>
        </pc:picChg>
        <pc:cxnChg chg="del">
          <ac:chgData name="Michael Wiley" userId="c47109c9-80e8-471c-a0d8-79372bbb0a30" providerId="ADAL" clId="{B5FEA6F6-4EF4-4247-A42B-BE1418B751B5}" dt="2021-09-13T18:16:29.290" v="1325" actId="478"/>
          <ac:cxnSpMkLst>
            <pc:docMk/>
            <pc:sldMk cId="496098744" sldId="1754"/>
            <ac:cxnSpMk id="24" creationId="{BBDD137D-5EB3-4CB8-91AF-26910762D641}"/>
          </ac:cxnSpMkLst>
        </pc:cxnChg>
        <pc:cxnChg chg="del mod">
          <ac:chgData name="Michael Wiley" userId="c47109c9-80e8-471c-a0d8-79372bbb0a30" providerId="ADAL" clId="{B5FEA6F6-4EF4-4247-A42B-BE1418B751B5}" dt="2021-09-13T18:16:32.804" v="1327" actId="478"/>
          <ac:cxnSpMkLst>
            <pc:docMk/>
            <pc:sldMk cId="496098744" sldId="1754"/>
            <ac:cxnSpMk id="26" creationId="{90D753E7-BE16-4030-98E6-A79C93867CAC}"/>
          </ac:cxnSpMkLst>
        </pc:cxnChg>
        <pc:cxnChg chg="del mod">
          <ac:chgData name="Michael Wiley" userId="c47109c9-80e8-471c-a0d8-79372bbb0a30" providerId="ADAL" clId="{B5FEA6F6-4EF4-4247-A42B-BE1418B751B5}" dt="2021-09-13T18:16:31.207" v="1326" actId="478"/>
          <ac:cxnSpMkLst>
            <pc:docMk/>
            <pc:sldMk cId="496098744" sldId="1754"/>
            <ac:cxnSpMk id="44" creationId="{A0616FDB-99E1-460F-809F-C0895FD7DD71}"/>
          </ac:cxnSpMkLst>
        </pc:cxnChg>
        <pc:cxnChg chg="del mod">
          <ac:chgData name="Michael Wiley" userId="c47109c9-80e8-471c-a0d8-79372bbb0a30" providerId="ADAL" clId="{B5FEA6F6-4EF4-4247-A42B-BE1418B751B5}" dt="2021-09-13T18:16:29.290" v="1325" actId="478"/>
          <ac:cxnSpMkLst>
            <pc:docMk/>
            <pc:sldMk cId="496098744" sldId="1754"/>
            <ac:cxnSpMk id="46" creationId="{F04A19A5-7DD6-4C29-91F7-E7EC7B96AD72}"/>
          </ac:cxnSpMkLst>
        </pc:cxnChg>
        <pc:cxnChg chg="del">
          <ac:chgData name="Michael Wiley" userId="c47109c9-80e8-471c-a0d8-79372bbb0a30" providerId="ADAL" clId="{B5FEA6F6-4EF4-4247-A42B-BE1418B751B5}" dt="2021-09-13T18:16:29.290" v="1325" actId="478"/>
          <ac:cxnSpMkLst>
            <pc:docMk/>
            <pc:sldMk cId="496098744" sldId="1754"/>
            <ac:cxnSpMk id="50" creationId="{A5348538-3537-4172-A298-B1A0C13E8472}"/>
          </ac:cxnSpMkLst>
        </pc:cxnChg>
        <pc:cxnChg chg="del mod">
          <ac:chgData name="Michael Wiley" userId="c47109c9-80e8-471c-a0d8-79372bbb0a30" providerId="ADAL" clId="{B5FEA6F6-4EF4-4247-A42B-BE1418B751B5}" dt="2021-09-13T18:16:29.290" v="1325" actId="478"/>
          <ac:cxnSpMkLst>
            <pc:docMk/>
            <pc:sldMk cId="496098744" sldId="1754"/>
            <ac:cxnSpMk id="55" creationId="{86C16418-4C60-4BD6-B185-75CB4BE395EF}"/>
          </ac:cxnSpMkLst>
        </pc:cxnChg>
      </pc:sldChg>
      <pc:sldChg chg="modSp del mod">
        <pc:chgData name="Michael Wiley" userId="c47109c9-80e8-471c-a0d8-79372bbb0a30" providerId="ADAL" clId="{B5FEA6F6-4EF4-4247-A42B-BE1418B751B5}" dt="2021-09-20T16:02:30.214" v="1624" actId="47"/>
        <pc:sldMkLst>
          <pc:docMk/>
          <pc:sldMk cId="66359807" sldId="1758"/>
        </pc:sldMkLst>
        <pc:graphicFrameChg chg="mod modGraphic">
          <ac:chgData name="Michael Wiley" userId="c47109c9-80e8-471c-a0d8-79372bbb0a30" providerId="ADAL" clId="{B5FEA6F6-4EF4-4247-A42B-BE1418B751B5}" dt="2021-09-13T19:31:47.070" v="1567" actId="17032"/>
          <ac:graphicFrameMkLst>
            <pc:docMk/>
            <pc:sldMk cId="66359807" sldId="1758"/>
            <ac:graphicFrameMk id="5" creationId="{00000000-0000-0000-0000-000000000000}"/>
          </ac:graphicFrameMkLst>
        </pc:graphicFrameChg>
      </pc:sldChg>
      <pc:sldChg chg="del">
        <pc:chgData name="Michael Wiley" userId="c47109c9-80e8-471c-a0d8-79372bbb0a30" providerId="ADAL" clId="{B5FEA6F6-4EF4-4247-A42B-BE1418B751B5}" dt="2021-09-20T16:02:36.994" v="1625" actId="47"/>
        <pc:sldMkLst>
          <pc:docMk/>
          <pc:sldMk cId="3836636057" sldId="1770"/>
        </pc:sldMkLst>
      </pc:sldChg>
      <pc:sldChg chg="addSp delSp modSp add mod modNotesTx">
        <pc:chgData name="Michael Wiley" userId="c47109c9-80e8-471c-a0d8-79372bbb0a30" providerId="ADAL" clId="{B5FEA6F6-4EF4-4247-A42B-BE1418B751B5}" dt="2021-09-13T19:41:51.370" v="1605" actId="14734"/>
        <pc:sldMkLst>
          <pc:docMk/>
          <pc:sldMk cId="2114722045" sldId="1771"/>
        </pc:sldMkLst>
        <pc:spChg chg="add del">
          <ac:chgData name="Michael Wiley" userId="c47109c9-80e8-471c-a0d8-79372bbb0a30" providerId="ADAL" clId="{B5FEA6F6-4EF4-4247-A42B-BE1418B751B5}" dt="2021-09-13T19:39:02.255" v="1574" actId="22"/>
          <ac:spMkLst>
            <pc:docMk/>
            <pc:sldMk cId="2114722045" sldId="1771"/>
            <ac:spMk id="8" creationId="{337B962F-3496-4B18-92ED-941819A73745}"/>
          </ac:spMkLst>
        </pc:spChg>
        <pc:graphicFrameChg chg="mod modGraphic">
          <ac:chgData name="Michael Wiley" userId="c47109c9-80e8-471c-a0d8-79372bbb0a30" providerId="ADAL" clId="{B5FEA6F6-4EF4-4247-A42B-BE1418B751B5}" dt="2021-09-13T19:41:51.370" v="1605" actId="14734"/>
          <ac:graphicFrameMkLst>
            <pc:docMk/>
            <pc:sldMk cId="2114722045" sldId="1771"/>
            <ac:graphicFrameMk id="2" creationId="{00DFD454-F652-4BA4-B0DA-571743499239}"/>
          </ac:graphicFrameMkLst>
        </pc:graphicFrameChg>
        <pc:picChg chg="add mod">
          <ac:chgData name="Michael Wiley" userId="c47109c9-80e8-471c-a0d8-79372bbb0a30" providerId="ADAL" clId="{B5FEA6F6-4EF4-4247-A42B-BE1418B751B5}" dt="2021-09-13T19:40:49.069" v="1600" actId="1076"/>
          <ac:picMkLst>
            <pc:docMk/>
            <pc:sldMk cId="2114722045" sldId="1771"/>
            <ac:picMk id="5" creationId="{4CDFBB15-B0B1-4C85-9D97-3D646E8CC979}"/>
          </ac:picMkLst>
        </pc:picChg>
        <pc:picChg chg="add mod">
          <ac:chgData name="Michael Wiley" userId="c47109c9-80e8-471c-a0d8-79372bbb0a30" providerId="ADAL" clId="{B5FEA6F6-4EF4-4247-A42B-BE1418B751B5}" dt="2021-09-13T19:40:51.787" v="1601" actId="1076"/>
          <ac:picMkLst>
            <pc:docMk/>
            <pc:sldMk cId="2114722045" sldId="1771"/>
            <ac:picMk id="6" creationId="{7F5D62CE-1C6B-4091-895B-854897781263}"/>
          </ac:picMkLst>
        </pc:picChg>
        <pc:picChg chg="add mod">
          <ac:chgData name="Michael Wiley" userId="c47109c9-80e8-471c-a0d8-79372bbb0a30" providerId="ADAL" clId="{B5FEA6F6-4EF4-4247-A42B-BE1418B751B5}" dt="2021-09-13T19:40:53.668" v="1602" actId="1076"/>
          <ac:picMkLst>
            <pc:docMk/>
            <pc:sldMk cId="2114722045" sldId="1771"/>
            <ac:picMk id="7" creationId="{1A2C503A-CFC3-4599-A045-EEA5C955BDCC}"/>
          </ac:picMkLst>
        </pc:picChg>
        <pc:picChg chg="del">
          <ac:chgData name="Michael Wiley" userId="c47109c9-80e8-471c-a0d8-79372bbb0a30" providerId="ADAL" clId="{B5FEA6F6-4EF4-4247-A42B-BE1418B751B5}" dt="2021-09-13T19:39:22.944" v="1578" actId="478"/>
          <ac:picMkLst>
            <pc:docMk/>
            <pc:sldMk cId="2114722045" sldId="1771"/>
            <ac:picMk id="19" creationId="{4F19D4D7-F0AF-4F4A-BAFE-FBB18E1CBCC3}"/>
          </ac:picMkLst>
        </pc:picChg>
        <pc:picChg chg="del">
          <ac:chgData name="Michael Wiley" userId="c47109c9-80e8-471c-a0d8-79372bbb0a30" providerId="ADAL" clId="{B5FEA6F6-4EF4-4247-A42B-BE1418B751B5}" dt="2021-09-13T19:38:59.932" v="1572" actId="478"/>
          <ac:picMkLst>
            <pc:docMk/>
            <pc:sldMk cId="2114722045" sldId="1771"/>
            <ac:picMk id="23" creationId="{C2034D83-FEF0-4B22-967D-3A87682CF13F}"/>
          </ac:picMkLst>
        </pc:picChg>
        <pc:picChg chg="del">
          <ac:chgData name="Michael Wiley" userId="c47109c9-80e8-471c-a0d8-79372bbb0a30" providerId="ADAL" clId="{B5FEA6F6-4EF4-4247-A42B-BE1418B751B5}" dt="2021-09-13T19:39:21.914" v="1577" actId="478"/>
          <ac:picMkLst>
            <pc:docMk/>
            <pc:sldMk cId="2114722045" sldId="1771"/>
            <ac:picMk id="25" creationId="{A4E0E679-BEF4-4D65-8041-C857EDFF6962}"/>
          </ac:picMkLst>
        </pc:picChg>
      </pc:sldChg>
      <pc:sldChg chg="del">
        <pc:chgData name="Michael Wiley" userId="c47109c9-80e8-471c-a0d8-79372bbb0a30" providerId="ADAL" clId="{B5FEA6F6-4EF4-4247-A42B-BE1418B751B5}" dt="2021-09-20T16:25:53.489" v="1628" actId="47"/>
        <pc:sldMkLst>
          <pc:docMk/>
          <pc:sldMk cId="680152844" sldId="1774"/>
        </pc:sldMkLst>
      </pc:sldChg>
      <pc:sldChg chg="add">
        <pc:chgData name="Michael Wiley" userId="c47109c9-80e8-471c-a0d8-79372bbb0a30" providerId="ADAL" clId="{B5FEA6F6-4EF4-4247-A42B-BE1418B751B5}" dt="2021-09-13T19:55:47.295" v="1607" actId="22"/>
        <pc:sldMkLst>
          <pc:docMk/>
          <pc:sldMk cId="2615805026" sldId="1776"/>
        </pc:sldMkLst>
      </pc:sldChg>
      <pc:sldChg chg="del">
        <pc:chgData name="Michael Wiley" userId="c47109c9-80e8-471c-a0d8-79372bbb0a30" providerId="ADAL" clId="{B5FEA6F6-4EF4-4247-A42B-BE1418B751B5}" dt="2021-09-20T16:25:46.631" v="1627" actId="47"/>
        <pc:sldMkLst>
          <pc:docMk/>
          <pc:sldMk cId="729908435" sldId="1777"/>
        </pc:sldMkLst>
      </pc:sldChg>
      <pc:sldChg chg="mod modShow">
        <pc:chgData name="Michael Wiley" userId="c47109c9-80e8-471c-a0d8-79372bbb0a30" providerId="ADAL" clId="{B5FEA6F6-4EF4-4247-A42B-BE1418B751B5}" dt="2021-09-20T17:02:41.873" v="1815" actId="729"/>
        <pc:sldMkLst>
          <pc:docMk/>
          <pc:sldMk cId="941779801" sldId="1782"/>
        </pc:sldMkLst>
      </pc:sldChg>
      <pc:sldChg chg="mod ord modShow">
        <pc:chgData name="Michael Wiley" userId="c47109c9-80e8-471c-a0d8-79372bbb0a30" providerId="ADAL" clId="{B5FEA6F6-4EF4-4247-A42B-BE1418B751B5}" dt="2021-10-01T13:15:54.095" v="2413" actId="729"/>
        <pc:sldMkLst>
          <pc:docMk/>
          <pc:sldMk cId="3053512790" sldId="1791"/>
        </pc:sldMkLst>
      </pc:sldChg>
      <pc:sldChg chg="modSp mod">
        <pc:chgData name="Michael Wiley" userId="c47109c9-80e8-471c-a0d8-79372bbb0a30" providerId="ADAL" clId="{B5FEA6F6-4EF4-4247-A42B-BE1418B751B5}" dt="2021-09-17T17:45:42.377" v="1621" actId="1076"/>
        <pc:sldMkLst>
          <pc:docMk/>
          <pc:sldMk cId="2235031368" sldId="1794"/>
        </pc:sldMkLst>
        <pc:spChg chg="mod">
          <ac:chgData name="Michael Wiley" userId="c47109c9-80e8-471c-a0d8-79372bbb0a30" providerId="ADAL" clId="{B5FEA6F6-4EF4-4247-A42B-BE1418B751B5}" dt="2021-09-17T17:45:42.377" v="1621" actId="1076"/>
          <ac:spMkLst>
            <pc:docMk/>
            <pc:sldMk cId="2235031368" sldId="1794"/>
            <ac:spMk id="4" creationId="{DFD1CF80-9BAF-4FBF-A0E3-E13C2FD73DA0}"/>
          </ac:spMkLst>
        </pc:spChg>
        <pc:graphicFrameChg chg="mod">
          <ac:chgData name="Michael Wiley" userId="c47109c9-80e8-471c-a0d8-79372bbb0a30" providerId="ADAL" clId="{B5FEA6F6-4EF4-4247-A42B-BE1418B751B5}" dt="2021-09-17T17:45:39.330" v="1620" actId="1076"/>
          <ac:graphicFrameMkLst>
            <pc:docMk/>
            <pc:sldMk cId="2235031368" sldId="1794"/>
            <ac:graphicFrameMk id="3" creationId="{D0E0DB5C-7432-4211-B55B-5D6CE03F2884}"/>
          </ac:graphicFrameMkLst>
        </pc:graphicFrameChg>
      </pc:sldChg>
      <pc:sldChg chg="modSp add del mod">
        <pc:chgData name="Michael Wiley" userId="c47109c9-80e8-471c-a0d8-79372bbb0a30" providerId="ADAL" clId="{B5FEA6F6-4EF4-4247-A42B-BE1418B751B5}" dt="2021-09-17T17:44:20.733" v="1619" actId="2890"/>
        <pc:sldMkLst>
          <pc:docMk/>
          <pc:sldMk cId="2447498026" sldId="1794"/>
        </pc:sldMkLst>
        <pc:spChg chg="mod">
          <ac:chgData name="Michael Wiley" userId="c47109c9-80e8-471c-a0d8-79372bbb0a30" providerId="ADAL" clId="{B5FEA6F6-4EF4-4247-A42B-BE1418B751B5}" dt="2021-09-17T17:44:07.113" v="1612" actId="1076"/>
          <ac:spMkLst>
            <pc:docMk/>
            <pc:sldMk cId="2447498026" sldId="1794"/>
            <ac:spMk id="4" creationId="{DFD1CF80-9BAF-4FBF-A0E3-E13C2FD73DA0}"/>
          </ac:spMkLst>
        </pc:spChg>
        <pc:graphicFrameChg chg="mod modGraphic">
          <ac:chgData name="Michael Wiley" userId="c47109c9-80e8-471c-a0d8-79372bbb0a30" providerId="ADAL" clId="{B5FEA6F6-4EF4-4247-A42B-BE1418B751B5}" dt="2021-09-17T17:44:20.019" v="1618" actId="20577"/>
          <ac:graphicFrameMkLst>
            <pc:docMk/>
            <pc:sldMk cId="2447498026" sldId="1794"/>
            <ac:graphicFrameMk id="3" creationId="{D0E0DB5C-7432-4211-B55B-5D6CE03F2884}"/>
          </ac:graphicFrameMkLst>
        </pc:graphicFrameChg>
      </pc:sldChg>
      <pc:sldChg chg="ord addCm modCm">
        <pc:chgData name="Michael Wiley" userId="c47109c9-80e8-471c-a0d8-79372bbb0a30" providerId="ADAL" clId="{B5FEA6F6-4EF4-4247-A42B-BE1418B751B5}" dt="2021-10-01T13:18:30.733" v="2451"/>
        <pc:sldMkLst>
          <pc:docMk/>
          <pc:sldMk cId="1036788214" sldId="1795"/>
        </pc:sldMkLst>
      </pc:sldChg>
      <pc:sldChg chg="modSp add mod modShow">
        <pc:chgData name="Michael Wiley" userId="c47109c9-80e8-471c-a0d8-79372bbb0a30" providerId="ADAL" clId="{B5FEA6F6-4EF4-4247-A42B-BE1418B751B5}" dt="2021-09-20T16:35:43.267" v="1754" actId="20577"/>
        <pc:sldMkLst>
          <pc:docMk/>
          <pc:sldMk cId="816355800" sldId="1797"/>
        </pc:sldMkLst>
        <pc:spChg chg="mod">
          <ac:chgData name="Michael Wiley" userId="c47109c9-80e8-471c-a0d8-79372bbb0a30" providerId="ADAL" clId="{B5FEA6F6-4EF4-4247-A42B-BE1418B751B5}" dt="2021-09-20T16:34:01.699" v="1631" actId="6549"/>
          <ac:spMkLst>
            <pc:docMk/>
            <pc:sldMk cId="816355800" sldId="1797"/>
            <ac:spMk id="12" creationId="{787E219C-D0CC-479F-ACFC-845BD7297DC9}"/>
          </ac:spMkLst>
        </pc:spChg>
        <pc:spChg chg="mod">
          <ac:chgData name="Michael Wiley" userId="c47109c9-80e8-471c-a0d8-79372bbb0a30" providerId="ADAL" clId="{B5FEA6F6-4EF4-4247-A42B-BE1418B751B5}" dt="2021-09-20T16:35:43.267" v="1754" actId="20577"/>
          <ac:spMkLst>
            <pc:docMk/>
            <pc:sldMk cId="816355800" sldId="1797"/>
            <ac:spMk id="14" creationId="{C53A5CCE-28DC-4161-833B-A0C97956700C}"/>
          </ac:spMkLst>
        </pc:spChg>
      </pc:sldChg>
      <pc:sldChg chg="del">
        <pc:chgData name="Michael Wiley" userId="c47109c9-80e8-471c-a0d8-79372bbb0a30" providerId="ADAL" clId="{B5FEA6F6-4EF4-4247-A42B-BE1418B751B5}" dt="2021-09-20T16:25:42.222" v="1626" actId="47"/>
        <pc:sldMkLst>
          <pc:docMk/>
          <pc:sldMk cId="232370109" sldId="1798"/>
        </pc:sldMkLst>
      </pc:sldChg>
      <pc:sldChg chg="modSp add mod">
        <pc:chgData name="Michael Wiley" userId="c47109c9-80e8-471c-a0d8-79372bbb0a30" providerId="ADAL" clId="{B5FEA6F6-4EF4-4247-A42B-BE1418B751B5}" dt="2021-09-20T16:40:44.300" v="1761"/>
        <pc:sldMkLst>
          <pc:docMk/>
          <pc:sldMk cId="2854701824" sldId="1798"/>
        </pc:sldMkLst>
        <pc:graphicFrameChg chg="mod modGraphic">
          <ac:chgData name="Michael Wiley" userId="c47109c9-80e8-471c-a0d8-79372bbb0a30" providerId="ADAL" clId="{B5FEA6F6-4EF4-4247-A42B-BE1418B751B5}" dt="2021-09-20T16:40:44.300" v="1761"/>
          <ac:graphicFrameMkLst>
            <pc:docMk/>
            <pc:sldMk cId="2854701824" sldId="1798"/>
            <ac:graphicFrameMk id="3" creationId="{D0E0DB5C-7432-4211-B55B-5D6CE03F2884}"/>
          </ac:graphicFrameMkLst>
        </pc:graphicFrameChg>
      </pc:sldChg>
      <pc:sldChg chg="modSp mod ord modShow">
        <pc:chgData name="Michael Wiley" userId="c47109c9-80e8-471c-a0d8-79372bbb0a30" providerId="ADAL" clId="{B5FEA6F6-4EF4-4247-A42B-BE1418B751B5}" dt="2021-10-01T13:12:33.885" v="2407" actId="729"/>
        <pc:sldMkLst>
          <pc:docMk/>
          <pc:sldMk cId="2892225085" sldId="1799"/>
        </pc:sldMkLst>
        <pc:graphicFrameChg chg="mod">
          <ac:chgData name="Michael Wiley" userId="c47109c9-80e8-471c-a0d8-79372bbb0a30" providerId="ADAL" clId="{B5FEA6F6-4EF4-4247-A42B-BE1418B751B5}" dt="2021-09-20T16:56:38.837" v="1806"/>
          <ac:graphicFrameMkLst>
            <pc:docMk/>
            <pc:sldMk cId="2892225085" sldId="1799"/>
            <ac:graphicFrameMk id="17" creationId="{5768BE25-8529-4798-9A30-A3247E63EE2E}"/>
          </ac:graphicFrameMkLst>
        </pc:graphicFrameChg>
      </pc:sldChg>
      <pc:sldChg chg="addSp delSp modSp add del mod ord modShow">
        <pc:chgData name="Michael Wiley" userId="c47109c9-80e8-471c-a0d8-79372bbb0a30" providerId="ADAL" clId="{B5FEA6F6-4EF4-4247-A42B-BE1418B751B5}" dt="2021-09-20T17:50:20.633" v="2262" actId="47"/>
        <pc:sldMkLst>
          <pc:docMk/>
          <pc:sldMk cId="1393033655" sldId="1800"/>
        </pc:sldMkLst>
        <pc:spChg chg="add del mod">
          <ac:chgData name="Michael Wiley" userId="c47109c9-80e8-471c-a0d8-79372bbb0a30" providerId="ADAL" clId="{B5FEA6F6-4EF4-4247-A42B-BE1418B751B5}" dt="2021-09-20T16:53:09.161" v="1804" actId="478"/>
          <ac:spMkLst>
            <pc:docMk/>
            <pc:sldMk cId="1393033655" sldId="1800"/>
            <ac:spMk id="4" creationId="{1F1792E4-61FC-4F90-9B9B-257A5F92C25C}"/>
          </ac:spMkLst>
        </pc:spChg>
        <pc:spChg chg="del">
          <ac:chgData name="Michael Wiley" userId="c47109c9-80e8-471c-a0d8-79372bbb0a30" providerId="ADAL" clId="{B5FEA6F6-4EF4-4247-A42B-BE1418B751B5}" dt="2021-09-20T16:55:04.900" v="1805" actId="478"/>
          <ac:spMkLst>
            <pc:docMk/>
            <pc:sldMk cId="1393033655" sldId="1800"/>
            <ac:spMk id="5" creationId="{038EC2C1-B388-4694-A80F-D73CA1D08278}"/>
          </ac:spMkLst>
        </pc:spChg>
        <pc:spChg chg="add del">
          <ac:chgData name="Michael Wiley" userId="c47109c9-80e8-471c-a0d8-79372bbb0a30" providerId="ADAL" clId="{B5FEA6F6-4EF4-4247-A42B-BE1418B751B5}" dt="2021-09-20T16:57:17.070" v="1808" actId="478"/>
          <ac:spMkLst>
            <pc:docMk/>
            <pc:sldMk cId="1393033655" sldId="1800"/>
            <ac:spMk id="7" creationId="{D7D1215B-1286-4770-8ABB-D562094BBEED}"/>
          </ac:spMkLst>
        </pc:spChg>
        <pc:spChg chg="del mod">
          <ac:chgData name="Michael Wiley" userId="c47109c9-80e8-471c-a0d8-79372bbb0a30" providerId="ADAL" clId="{B5FEA6F6-4EF4-4247-A42B-BE1418B751B5}" dt="2021-09-20T16:51:37.163" v="1765" actId="478"/>
          <ac:spMkLst>
            <pc:docMk/>
            <pc:sldMk cId="1393033655" sldId="1800"/>
            <ac:spMk id="18" creationId="{DB5356C5-3DD1-466E-B1C5-B0A1195C117A}"/>
          </ac:spMkLst>
        </pc:spChg>
        <pc:cxnChg chg="add mod">
          <ac:chgData name="Michael Wiley" userId="c47109c9-80e8-471c-a0d8-79372bbb0a30" providerId="ADAL" clId="{B5FEA6F6-4EF4-4247-A42B-BE1418B751B5}" dt="2021-09-20T16:52:14.906" v="1785" actId="692"/>
          <ac:cxnSpMkLst>
            <pc:docMk/>
            <pc:sldMk cId="1393033655" sldId="1800"/>
            <ac:cxnSpMk id="6" creationId="{CB3CADC7-0810-4B0B-B559-1EF38C211642}"/>
          </ac:cxnSpMkLst>
        </pc:cxnChg>
      </pc:sldChg>
      <pc:sldChg chg="addSp delSp modSp add del mod ord modShow addCm">
        <pc:chgData name="Michael Wiley" userId="c47109c9-80e8-471c-a0d8-79372bbb0a30" providerId="ADAL" clId="{B5FEA6F6-4EF4-4247-A42B-BE1418B751B5}" dt="2021-09-20T17:50:19.273" v="2261" actId="47"/>
        <pc:sldMkLst>
          <pc:docMk/>
          <pc:sldMk cId="1734164010" sldId="1801"/>
        </pc:sldMkLst>
        <pc:spChg chg="add del">
          <ac:chgData name="Michael Wiley" userId="c47109c9-80e8-471c-a0d8-79372bbb0a30" providerId="ADAL" clId="{B5FEA6F6-4EF4-4247-A42B-BE1418B751B5}" dt="2021-09-20T17:04:27.272" v="1824" actId="478"/>
          <ac:spMkLst>
            <pc:docMk/>
            <pc:sldMk cId="1734164010" sldId="1801"/>
            <ac:spMk id="4" creationId="{C63AC1FA-3B4D-441E-B29F-57108A389A05}"/>
          </ac:spMkLst>
        </pc:spChg>
        <pc:spChg chg="add del mod">
          <ac:chgData name="Michael Wiley" userId="c47109c9-80e8-471c-a0d8-79372bbb0a30" providerId="ADAL" clId="{B5FEA6F6-4EF4-4247-A42B-BE1418B751B5}" dt="2021-09-20T17:08:48.340" v="1892" actId="478"/>
          <ac:spMkLst>
            <pc:docMk/>
            <pc:sldMk cId="1734164010" sldId="1801"/>
            <ac:spMk id="5" creationId="{FA9D4873-5FAC-4FFA-BB01-32A8CCB59A4F}"/>
          </ac:spMkLst>
        </pc:spChg>
        <pc:spChg chg="add mod">
          <ac:chgData name="Michael Wiley" userId="c47109c9-80e8-471c-a0d8-79372bbb0a30" providerId="ADAL" clId="{B5FEA6F6-4EF4-4247-A42B-BE1418B751B5}" dt="2021-09-20T17:10:27.046" v="1913" actId="207"/>
          <ac:spMkLst>
            <pc:docMk/>
            <pc:sldMk cId="1734164010" sldId="1801"/>
            <ac:spMk id="6" creationId="{61653802-EA32-4CE5-B09B-FBEA79A1E3E8}"/>
          </ac:spMkLst>
        </pc:spChg>
        <pc:spChg chg="del">
          <ac:chgData name="Michael Wiley" userId="c47109c9-80e8-471c-a0d8-79372bbb0a30" providerId="ADAL" clId="{B5FEA6F6-4EF4-4247-A42B-BE1418B751B5}" dt="2021-09-20T17:06:22.928" v="1865" actId="478"/>
          <ac:spMkLst>
            <pc:docMk/>
            <pc:sldMk cId="1734164010" sldId="1801"/>
            <ac:spMk id="18" creationId="{DB5356C5-3DD1-466E-B1C5-B0A1195C117A}"/>
          </ac:spMkLst>
        </pc:spChg>
        <pc:graphicFrameChg chg="mod">
          <ac:chgData name="Michael Wiley" userId="c47109c9-80e8-471c-a0d8-79372bbb0a30" providerId="ADAL" clId="{B5FEA6F6-4EF4-4247-A42B-BE1418B751B5}" dt="2021-09-20T17:07:12.830" v="1875"/>
          <ac:graphicFrameMkLst>
            <pc:docMk/>
            <pc:sldMk cId="1734164010" sldId="1801"/>
            <ac:graphicFrameMk id="3" creationId="{D0E0DB5C-7432-4211-B55B-5D6CE03F2884}"/>
          </ac:graphicFrameMkLst>
        </pc:graphicFrameChg>
        <pc:graphicFrameChg chg="mod modGraphic">
          <ac:chgData name="Michael Wiley" userId="c47109c9-80e8-471c-a0d8-79372bbb0a30" providerId="ADAL" clId="{B5FEA6F6-4EF4-4247-A42B-BE1418B751B5}" dt="2021-09-20T17:08:19.017" v="1886" actId="14100"/>
          <ac:graphicFrameMkLst>
            <pc:docMk/>
            <pc:sldMk cId="1734164010" sldId="1801"/>
            <ac:graphicFrameMk id="17" creationId="{5768BE25-8529-4798-9A30-A3247E63EE2E}"/>
          </ac:graphicFrameMkLst>
        </pc:graphicFrameChg>
      </pc:sldChg>
      <pc:sldChg chg="addSp delSp modSp add mod ord">
        <pc:chgData name="Michael Wiley" userId="c47109c9-80e8-471c-a0d8-79372bbb0a30" providerId="ADAL" clId="{B5FEA6F6-4EF4-4247-A42B-BE1418B751B5}" dt="2021-09-20T19:39:31.765" v="2360" actId="14100"/>
        <pc:sldMkLst>
          <pc:docMk/>
          <pc:sldMk cId="265709502" sldId="1802"/>
        </pc:sldMkLst>
        <pc:spChg chg="add del">
          <ac:chgData name="Michael Wiley" userId="c47109c9-80e8-471c-a0d8-79372bbb0a30" providerId="ADAL" clId="{B5FEA6F6-4EF4-4247-A42B-BE1418B751B5}" dt="2021-09-20T17:11:39.615" v="1917" actId="478"/>
          <ac:spMkLst>
            <pc:docMk/>
            <pc:sldMk cId="265709502" sldId="1802"/>
            <ac:spMk id="4" creationId="{AE1A1907-71D6-461D-9ADB-145E243DACF4}"/>
          </ac:spMkLst>
        </pc:spChg>
        <pc:spChg chg="add del mod">
          <ac:chgData name="Michael Wiley" userId="c47109c9-80e8-471c-a0d8-79372bbb0a30" providerId="ADAL" clId="{B5FEA6F6-4EF4-4247-A42B-BE1418B751B5}" dt="2021-09-20T17:15:29.422" v="1947" actId="478"/>
          <ac:spMkLst>
            <pc:docMk/>
            <pc:sldMk cId="265709502" sldId="1802"/>
            <ac:spMk id="5" creationId="{F110657D-0A5A-4AA3-97B1-F70E88D103A9}"/>
          </ac:spMkLst>
        </pc:spChg>
        <pc:spChg chg="del">
          <ac:chgData name="Michael Wiley" userId="c47109c9-80e8-471c-a0d8-79372bbb0a30" providerId="ADAL" clId="{B5FEA6F6-4EF4-4247-A42B-BE1418B751B5}" dt="2021-09-20T17:10:55.278" v="1915" actId="478"/>
          <ac:spMkLst>
            <pc:docMk/>
            <pc:sldMk cId="265709502" sldId="1802"/>
            <ac:spMk id="6" creationId="{61653802-EA32-4CE5-B09B-FBEA79A1E3E8}"/>
          </ac:spMkLst>
        </pc:spChg>
        <pc:spChg chg="add del">
          <ac:chgData name="Michael Wiley" userId="c47109c9-80e8-471c-a0d8-79372bbb0a30" providerId="ADAL" clId="{B5FEA6F6-4EF4-4247-A42B-BE1418B751B5}" dt="2021-09-20T17:16:18.285" v="1949" actId="478"/>
          <ac:spMkLst>
            <pc:docMk/>
            <pc:sldMk cId="265709502" sldId="1802"/>
            <ac:spMk id="7" creationId="{4AF7AA4E-4E08-46AB-A5A8-42EF19F56ACC}"/>
          </ac:spMkLst>
        </pc:spChg>
        <pc:spChg chg="add del mod">
          <ac:chgData name="Michael Wiley" userId="c47109c9-80e8-471c-a0d8-79372bbb0a30" providerId="ADAL" clId="{B5FEA6F6-4EF4-4247-A42B-BE1418B751B5}" dt="2021-09-20T17:20:12.550" v="1962" actId="478"/>
          <ac:spMkLst>
            <pc:docMk/>
            <pc:sldMk cId="265709502" sldId="1802"/>
            <ac:spMk id="8" creationId="{12DE300F-35E0-422A-BB5F-340719420990}"/>
          </ac:spMkLst>
        </pc:spChg>
        <pc:spChg chg="add del mod">
          <ac:chgData name="Michael Wiley" userId="c47109c9-80e8-471c-a0d8-79372bbb0a30" providerId="ADAL" clId="{B5FEA6F6-4EF4-4247-A42B-BE1418B751B5}" dt="2021-09-20T17:28:26.077" v="2072" actId="478"/>
          <ac:spMkLst>
            <pc:docMk/>
            <pc:sldMk cId="265709502" sldId="1802"/>
            <ac:spMk id="9" creationId="{06711226-8D9B-4787-8FFE-3ED23B44DF4A}"/>
          </ac:spMkLst>
        </pc:spChg>
        <pc:spChg chg="add del mod">
          <ac:chgData name="Michael Wiley" userId="c47109c9-80e8-471c-a0d8-79372bbb0a30" providerId="ADAL" clId="{B5FEA6F6-4EF4-4247-A42B-BE1418B751B5}" dt="2021-09-20T17:30:08.132" v="2080" actId="478"/>
          <ac:spMkLst>
            <pc:docMk/>
            <pc:sldMk cId="265709502" sldId="1802"/>
            <ac:spMk id="11" creationId="{A85D2E4C-AD35-4C12-8BF7-3B281F3377A3}"/>
          </ac:spMkLst>
        </pc:spChg>
        <pc:spChg chg="add del">
          <ac:chgData name="Michael Wiley" userId="c47109c9-80e8-471c-a0d8-79372bbb0a30" providerId="ADAL" clId="{B5FEA6F6-4EF4-4247-A42B-BE1418B751B5}" dt="2021-09-20T17:30:35.243" v="2082" actId="478"/>
          <ac:spMkLst>
            <pc:docMk/>
            <pc:sldMk cId="265709502" sldId="1802"/>
            <ac:spMk id="12" creationId="{659EC05B-346F-4493-A2E7-9247F625E8D5}"/>
          </ac:spMkLst>
        </pc:spChg>
        <pc:spChg chg="add del">
          <ac:chgData name="Michael Wiley" userId="c47109c9-80e8-471c-a0d8-79372bbb0a30" providerId="ADAL" clId="{B5FEA6F6-4EF4-4247-A42B-BE1418B751B5}" dt="2021-09-20T17:31:13.644" v="2084" actId="478"/>
          <ac:spMkLst>
            <pc:docMk/>
            <pc:sldMk cId="265709502" sldId="1802"/>
            <ac:spMk id="13" creationId="{9C1D405A-F3D3-4024-855A-D13C11E45E40}"/>
          </ac:spMkLst>
        </pc:spChg>
        <pc:spChg chg="add del mod">
          <ac:chgData name="Michael Wiley" userId="c47109c9-80e8-471c-a0d8-79372bbb0a30" providerId="ADAL" clId="{B5FEA6F6-4EF4-4247-A42B-BE1418B751B5}" dt="2021-09-20T17:33:38.388" v="2105" actId="478"/>
          <ac:spMkLst>
            <pc:docMk/>
            <pc:sldMk cId="265709502" sldId="1802"/>
            <ac:spMk id="14" creationId="{8B39D8BC-69EE-4503-B229-11399D982F25}"/>
          </ac:spMkLst>
        </pc:spChg>
        <pc:spChg chg="add del mod">
          <ac:chgData name="Michael Wiley" userId="c47109c9-80e8-471c-a0d8-79372bbb0a30" providerId="ADAL" clId="{B5FEA6F6-4EF4-4247-A42B-BE1418B751B5}" dt="2021-09-20T17:34:53.910" v="2111" actId="478"/>
          <ac:spMkLst>
            <pc:docMk/>
            <pc:sldMk cId="265709502" sldId="1802"/>
            <ac:spMk id="15" creationId="{5B09354F-8E52-4DAE-8D20-A836BA731B43}"/>
          </ac:spMkLst>
        </pc:spChg>
        <pc:spChg chg="add del">
          <ac:chgData name="Michael Wiley" userId="c47109c9-80e8-471c-a0d8-79372bbb0a30" providerId="ADAL" clId="{B5FEA6F6-4EF4-4247-A42B-BE1418B751B5}" dt="2021-09-20T17:36:10.635" v="2113" actId="478"/>
          <ac:spMkLst>
            <pc:docMk/>
            <pc:sldMk cId="265709502" sldId="1802"/>
            <ac:spMk id="16" creationId="{1E335108-0259-404B-A6CA-681F95E70801}"/>
          </ac:spMkLst>
        </pc:spChg>
        <pc:spChg chg="add del mod">
          <ac:chgData name="Michael Wiley" userId="c47109c9-80e8-471c-a0d8-79372bbb0a30" providerId="ADAL" clId="{B5FEA6F6-4EF4-4247-A42B-BE1418B751B5}" dt="2021-09-20T17:37:51.546" v="2118" actId="478"/>
          <ac:spMkLst>
            <pc:docMk/>
            <pc:sldMk cId="265709502" sldId="1802"/>
            <ac:spMk id="18" creationId="{1EA1293F-6C09-40E0-8A1C-4EE8F6D03B2D}"/>
          </ac:spMkLst>
        </pc:spChg>
        <pc:spChg chg="add mod">
          <ac:chgData name="Michael Wiley" userId="c47109c9-80e8-471c-a0d8-79372bbb0a30" providerId="ADAL" clId="{B5FEA6F6-4EF4-4247-A42B-BE1418B751B5}" dt="2021-09-20T19:39:31.765" v="2360" actId="14100"/>
          <ac:spMkLst>
            <pc:docMk/>
            <pc:sldMk cId="265709502" sldId="1802"/>
            <ac:spMk id="19" creationId="{2A6CE719-F524-489F-9AC8-C66794752F75}"/>
          </ac:spMkLst>
        </pc:spChg>
        <pc:graphicFrameChg chg="mod modGraphic">
          <ac:chgData name="Michael Wiley" userId="c47109c9-80e8-471c-a0d8-79372bbb0a30" providerId="ADAL" clId="{B5FEA6F6-4EF4-4247-A42B-BE1418B751B5}" dt="2021-09-20T19:24:27.190" v="2269"/>
          <ac:graphicFrameMkLst>
            <pc:docMk/>
            <pc:sldMk cId="265709502" sldId="1802"/>
            <ac:graphicFrameMk id="3" creationId="{D0E0DB5C-7432-4211-B55B-5D6CE03F2884}"/>
          </ac:graphicFrameMkLst>
        </pc:graphicFrameChg>
        <pc:graphicFrameChg chg="mod">
          <ac:chgData name="Michael Wiley" userId="c47109c9-80e8-471c-a0d8-79372bbb0a30" providerId="ADAL" clId="{B5FEA6F6-4EF4-4247-A42B-BE1418B751B5}" dt="2021-09-20T19:25:37.891" v="2272" actId="1076"/>
          <ac:graphicFrameMkLst>
            <pc:docMk/>
            <pc:sldMk cId="265709502" sldId="1802"/>
            <ac:graphicFrameMk id="17" creationId="{5768BE25-8529-4798-9A30-A3247E63EE2E}"/>
          </ac:graphicFrameMkLst>
        </pc:graphicFrameChg>
      </pc:sldChg>
      <pc:sldChg chg="addSp delSp modSp add mod ord">
        <pc:chgData name="Michael Wiley" userId="c47109c9-80e8-471c-a0d8-79372bbb0a30" providerId="ADAL" clId="{B5FEA6F6-4EF4-4247-A42B-BE1418B751B5}" dt="2021-09-20T17:50:11.188" v="2258"/>
        <pc:sldMkLst>
          <pc:docMk/>
          <pc:sldMk cId="1676992980" sldId="1803"/>
        </pc:sldMkLst>
        <pc:spChg chg="add del mod">
          <ac:chgData name="Michael Wiley" userId="c47109c9-80e8-471c-a0d8-79372bbb0a30" providerId="ADAL" clId="{B5FEA6F6-4EF4-4247-A42B-BE1418B751B5}" dt="2021-09-20T17:41:43.024" v="2146" actId="478"/>
          <ac:spMkLst>
            <pc:docMk/>
            <pc:sldMk cId="1676992980" sldId="1803"/>
            <ac:spMk id="4" creationId="{F486B3C3-3462-4889-A3DD-E97549A7D979}"/>
          </ac:spMkLst>
        </pc:spChg>
        <pc:spChg chg="add mod">
          <ac:chgData name="Michael Wiley" userId="c47109c9-80e8-471c-a0d8-79372bbb0a30" providerId="ADAL" clId="{B5FEA6F6-4EF4-4247-A42B-BE1418B751B5}" dt="2021-09-20T17:48:23.941" v="2249" actId="2085"/>
          <ac:spMkLst>
            <pc:docMk/>
            <pc:sldMk cId="1676992980" sldId="1803"/>
            <ac:spMk id="5" creationId="{4AB9DE5B-704F-4A94-908E-8C74150D2947}"/>
          </ac:spMkLst>
        </pc:spChg>
        <pc:spChg chg="del">
          <ac:chgData name="Michael Wiley" userId="c47109c9-80e8-471c-a0d8-79372bbb0a30" providerId="ADAL" clId="{B5FEA6F6-4EF4-4247-A42B-BE1418B751B5}" dt="2021-09-20T17:39:52.727" v="2137" actId="478"/>
          <ac:spMkLst>
            <pc:docMk/>
            <pc:sldMk cId="1676992980" sldId="1803"/>
            <ac:spMk id="6" creationId="{61653802-EA32-4CE5-B09B-FBEA79A1E3E8}"/>
          </ac:spMkLst>
        </pc:spChg>
        <pc:spChg chg="add del">
          <ac:chgData name="Michael Wiley" userId="c47109c9-80e8-471c-a0d8-79372bbb0a30" providerId="ADAL" clId="{B5FEA6F6-4EF4-4247-A42B-BE1418B751B5}" dt="2021-09-20T17:43:44.192" v="2160" actId="478"/>
          <ac:spMkLst>
            <pc:docMk/>
            <pc:sldMk cId="1676992980" sldId="1803"/>
            <ac:spMk id="7" creationId="{32B32A80-6788-4895-B04B-FCAA37D11886}"/>
          </ac:spMkLst>
        </pc:spChg>
        <pc:graphicFrameChg chg="mod modGraphic">
          <ac:chgData name="Michael Wiley" userId="c47109c9-80e8-471c-a0d8-79372bbb0a30" providerId="ADAL" clId="{B5FEA6F6-4EF4-4247-A42B-BE1418B751B5}" dt="2021-09-20T17:40:24.898" v="2141" actId="20577"/>
          <ac:graphicFrameMkLst>
            <pc:docMk/>
            <pc:sldMk cId="1676992980" sldId="1803"/>
            <ac:graphicFrameMk id="3" creationId="{D0E0DB5C-7432-4211-B55B-5D6CE03F2884}"/>
          </ac:graphicFrameMkLst>
        </pc:graphicFrameChg>
        <pc:graphicFrameChg chg="mod">
          <ac:chgData name="Michael Wiley" userId="c47109c9-80e8-471c-a0d8-79372bbb0a30" providerId="ADAL" clId="{B5FEA6F6-4EF4-4247-A42B-BE1418B751B5}" dt="2021-09-20T17:40:02.010" v="2138" actId="12269"/>
          <ac:graphicFrameMkLst>
            <pc:docMk/>
            <pc:sldMk cId="1676992980" sldId="1803"/>
            <ac:graphicFrameMk id="17" creationId="{5768BE25-8529-4798-9A30-A3247E63EE2E}"/>
          </ac:graphicFrameMkLst>
        </pc:graphicFrameChg>
      </pc:sldChg>
      <pc:sldChg chg="addSp delSp modSp add mod ord">
        <pc:chgData name="Michael Wiley" userId="c47109c9-80e8-471c-a0d8-79372bbb0a30" providerId="ADAL" clId="{B5FEA6F6-4EF4-4247-A42B-BE1418B751B5}" dt="2021-09-20T17:50:08.404" v="2256"/>
        <pc:sldMkLst>
          <pc:docMk/>
          <pc:sldMk cId="3660733567" sldId="1804"/>
        </pc:sldMkLst>
        <pc:spChg chg="add del mod">
          <ac:chgData name="Michael Wiley" userId="c47109c9-80e8-471c-a0d8-79372bbb0a30" providerId="ADAL" clId="{B5FEA6F6-4EF4-4247-A42B-BE1418B751B5}" dt="2021-09-20T17:50:02.127" v="2254" actId="478"/>
          <ac:spMkLst>
            <pc:docMk/>
            <pc:sldMk cId="3660733567" sldId="1804"/>
            <ac:spMk id="4" creationId="{2821972B-338A-44FA-AF6B-EE6565CC42C0}"/>
          </ac:spMkLst>
        </pc:spChg>
        <pc:spChg chg="del">
          <ac:chgData name="Michael Wiley" userId="c47109c9-80e8-471c-a0d8-79372bbb0a30" providerId="ADAL" clId="{B5FEA6F6-4EF4-4247-A42B-BE1418B751B5}" dt="2021-09-20T17:43:52.837" v="2161" actId="478"/>
          <ac:spMkLst>
            <pc:docMk/>
            <pc:sldMk cId="3660733567" sldId="1804"/>
            <ac:spMk id="5" creationId="{4AB9DE5B-704F-4A94-908E-8C74150D2947}"/>
          </ac:spMkLst>
        </pc:spChg>
        <pc:spChg chg="mod">
          <ac:chgData name="Michael Wiley" userId="c47109c9-80e8-471c-a0d8-79372bbb0a30" providerId="ADAL" clId="{B5FEA6F6-4EF4-4247-A42B-BE1418B751B5}" dt="2021-09-20T17:48:55.972" v="2251" actId="14100"/>
          <ac:spMkLst>
            <pc:docMk/>
            <pc:sldMk cId="3660733567" sldId="1804"/>
            <ac:spMk id="7" creationId="{32B32A80-6788-4895-B04B-FCAA37D11886}"/>
          </ac:spMkLst>
        </pc:spChg>
        <pc:graphicFrameChg chg="mod">
          <ac:chgData name="Michael Wiley" userId="c47109c9-80e8-471c-a0d8-79372bbb0a30" providerId="ADAL" clId="{B5FEA6F6-4EF4-4247-A42B-BE1418B751B5}" dt="2021-09-20T17:44:28.787" v="2169" actId="1076"/>
          <ac:graphicFrameMkLst>
            <pc:docMk/>
            <pc:sldMk cId="3660733567" sldId="1804"/>
            <ac:graphicFrameMk id="17" creationId="{5768BE25-8529-4798-9A30-A3247E63EE2E}"/>
          </ac:graphicFrameMkLst>
        </pc:graphicFrameChg>
      </pc:sldChg>
      <pc:sldChg chg="addSp delSp modSp add mod ord modAnim modShow addCm">
        <pc:chgData name="Michael Wiley" userId="c47109c9-80e8-471c-a0d8-79372bbb0a30" providerId="ADAL" clId="{B5FEA6F6-4EF4-4247-A42B-BE1418B751B5}" dt="2021-10-01T13:12:31.564" v="2406"/>
        <pc:sldMkLst>
          <pc:docMk/>
          <pc:sldMk cId="1882859933" sldId="1805"/>
        </pc:sldMkLst>
        <pc:spChg chg="del">
          <ac:chgData name="Michael Wiley" userId="c47109c9-80e8-471c-a0d8-79372bbb0a30" providerId="ADAL" clId="{B5FEA6F6-4EF4-4247-A42B-BE1418B751B5}" dt="2021-09-20T19:25:56.745" v="2274" actId="478"/>
          <ac:spMkLst>
            <pc:docMk/>
            <pc:sldMk cId="1882859933" sldId="1805"/>
            <ac:spMk id="19" creationId="{2A6CE719-F524-489F-9AC8-C66794752F75}"/>
          </ac:spMkLst>
        </pc:spChg>
        <pc:graphicFrameChg chg="mod">
          <ac:chgData name="Michael Wiley" userId="c47109c9-80e8-471c-a0d8-79372bbb0a30" providerId="ADAL" clId="{B5FEA6F6-4EF4-4247-A42B-BE1418B751B5}" dt="2021-09-20T19:27:26.441" v="2286"/>
          <ac:graphicFrameMkLst>
            <pc:docMk/>
            <pc:sldMk cId="1882859933" sldId="1805"/>
            <ac:graphicFrameMk id="3" creationId="{D0E0DB5C-7432-4211-B55B-5D6CE03F2884}"/>
          </ac:graphicFrameMkLst>
        </pc:graphicFrameChg>
        <pc:graphicFrameChg chg="mod">
          <ac:chgData name="Michael Wiley" userId="c47109c9-80e8-471c-a0d8-79372bbb0a30" providerId="ADAL" clId="{B5FEA6F6-4EF4-4247-A42B-BE1418B751B5}" dt="2021-09-20T19:38:49.218" v="2352" actId="1076"/>
          <ac:graphicFrameMkLst>
            <pc:docMk/>
            <pc:sldMk cId="1882859933" sldId="1805"/>
            <ac:graphicFrameMk id="17" creationId="{5768BE25-8529-4798-9A30-A3247E63EE2E}"/>
          </ac:graphicFrameMkLst>
        </pc:graphicFrameChg>
        <pc:picChg chg="add mod">
          <ac:chgData name="Michael Wiley" userId="c47109c9-80e8-471c-a0d8-79372bbb0a30" providerId="ADAL" clId="{B5FEA6F6-4EF4-4247-A42B-BE1418B751B5}" dt="2021-09-20T19:33:51.507" v="2321" actId="207"/>
          <ac:picMkLst>
            <pc:docMk/>
            <pc:sldMk cId="1882859933" sldId="1805"/>
            <ac:picMk id="5" creationId="{C1370F42-AEEE-4021-B5AD-275A98883DC6}"/>
          </ac:picMkLst>
        </pc:picChg>
      </pc:sldChg>
      <pc:sldChg chg="addSp delSp modSp add mod modShow">
        <pc:chgData name="Michael Wiley" userId="c47109c9-80e8-471c-a0d8-79372bbb0a30" providerId="ADAL" clId="{B5FEA6F6-4EF4-4247-A42B-BE1418B751B5}" dt="2021-10-01T13:12:55.986" v="2409" actId="729"/>
        <pc:sldMkLst>
          <pc:docMk/>
          <pc:sldMk cId="2034563406" sldId="1806"/>
        </pc:sldMkLst>
        <pc:picChg chg="del">
          <ac:chgData name="Michael Wiley" userId="c47109c9-80e8-471c-a0d8-79372bbb0a30" providerId="ADAL" clId="{B5FEA6F6-4EF4-4247-A42B-BE1418B751B5}" dt="2021-09-20T19:27:45.685" v="2289" actId="478"/>
          <ac:picMkLst>
            <pc:docMk/>
            <pc:sldMk cId="2034563406" sldId="1806"/>
            <ac:picMk id="5" creationId="{C1370F42-AEEE-4021-B5AD-275A98883DC6}"/>
          </ac:picMkLst>
        </pc:picChg>
        <pc:picChg chg="add mod">
          <ac:chgData name="Michael Wiley" userId="c47109c9-80e8-471c-a0d8-79372bbb0a30" providerId="ADAL" clId="{B5FEA6F6-4EF4-4247-A42B-BE1418B751B5}" dt="2021-09-20T19:32:20.496" v="2317" actId="1076"/>
          <ac:picMkLst>
            <pc:docMk/>
            <pc:sldMk cId="2034563406" sldId="1806"/>
            <ac:picMk id="6" creationId="{08D4C27D-1437-4384-B954-BED82CD7F65B}"/>
          </ac:picMkLst>
        </pc:picChg>
      </pc:sldChg>
      <pc:sldChg chg="modSp add mod">
        <pc:chgData name="Michael Wiley" userId="c47109c9-80e8-471c-a0d8-79372bbb0a30" providerId="ADAL" clId="{B5FEA6F6-4EF4-4247-A42B-BE1418B751B5}" dt="2021-10-01T13:16:26.553" v="2449" actId="20577"/>
        <pc:sldMkLst>
          <pc:docMk/>
          <pc:sldMk cId="1501351407" sldId="1807"/>
        </pc:sldMkLst>
        <pc:graphicFrameChg chg="mod modGraphic">
          <ac:chgData name="Michael Wiley" userId="c47109c9-80e8-471c-a0d8-79372bbb0a30" providerId="ADAL" clId="{B5FEA6F6-4EF4-4247-A42B-BE1418B751B5}" dt="2021-10-01T13:16:26.553" v="2449" actId="20577"/>
          <ac:graphicFrameMkLst>
            <pc:docMk/>
            <pc:sldMk cId="1501351407" sldId="1807"/>
            <ac:graphicFrameMk id="5" creationId="{00000000-0000-0000-0000-000000000000}"/>
          </ac:graphicFrameMkLst>
        </pc:graphicFrameChg>
      </pc:sldChg>
      <pc:sldChg chg="addSp delSp modSp add del mod">
        <pc:chgData name="Michael Wiley" userId="c47109c9-80e8-471c-a0d8-79372bbb0a30" providerId="ADAL" clId="{B5FEA6F6-4EF4-4247-A42B-BE1418B751B5}" dt="2021-10-01T13:12:46.457" v="2408" actId="47"/>
        <pc:sldMkLst>
          <pc:docMk/>
          <pc:sldMk cId="3036436312" sldId="1807"/>
        </pc:sldMkLst>
        <pc:spChg chg="del">
          <ac:chgData name="Michael Wiley" userId="c47109c9-80e8-471c-a0d8-79372bbb0a30" providerId="ADAL" clId="{B5FEA6F6-4EF4-4247-A42B-BE1418B751B5}" dt="2021-09-20T19:29:36.676" v="2302" actId="478"/>
          <ac:spMkLst>
            <pc:docMk/>
            <pc:sldMk cId="3036436312" sldId="1807"/>
            <ac:spMk id="5" creationId="{4AB9DE5B-704F-4A94-908E-8C74150D2947}"/>
          </ac:spMkLst>
        </pc:spChg>
        <pc:graphicFrameChg chg="mod">
          <ac:chgData name="Michael Wiley" userId="c47109c9-80e8-471c-a0d8-79372bbb0a30" providerId="ADAL" clId="{B5FEA6F6-4EF4-4247-A42B-BE1418B751B5}" dt="2021-09-20T19:36:36.484" v="2336" actId="1076"/>
          <ac:graphicFrameMkLst>
            <pc:docMk/>
            <pc:sldMk cId="3036436312" sldId="1807"/>
            <ac:graphicFrameMk id="17" creationId="{5768BE25-8529-4798-9A30-A3247E63EE2E}"/>
          </ac:graphicFrameMkLst>
        </pc:graphicFrameChg>
        <pc:picChg chg="add del mod">
          <ac:chgData name="Michael Wiley" userId="c47109c9-80e8-471c-a0d8-79372bbb0a30" providerId="ADAL" clId="{B5FEA6F6-4EF4-4247-A42B-BE1418B751B5}" dt="2021-09-20T19:31:52.077" v="2312" actId="478"/>
          <ac:picMkLst>
            <pc:docMk/>
            <pc:sldMk cId="3036436312" sldId="1807"/>
            <ac:picMk id="6" creationId="{1DDD2F0E-F4E2-41AB-A2EA-A1CA21292236}"/>
          </ac:picMkLst>
        </pc:picChg>
        <pc:picChg chg="add del mod">
          <ac:chgData name="Michael Wiley" userId="c47109c9-80e8-471c-a0d8-79372bbb0a30" providerId="ADAL" clId="{B5FEA6F6-4EF4-4247-A42B-BE1418B751B5}" dt="2021-09-20T19:34:25.135" v="2326" actId="478"/>
          <ac:picMkLst>
            <pc:docMk/>
            <pc:sldMk cId="3036436312" sldId="1807"/>
            <ac:picMk id="7" creationId="{C5631E04-9F59-4487-8A22-38979A1BC824}"/>
          </ac:picMkLst>
        </pc:picChg>
        <pc:picChg chg="add del mod">
          <ac:chgData name="Michael Wiley" userId="c47109c9-80e8-471c-a0d8-79372bbb0a30" providerId="ADAL" clId="{B5FEA6F6-4EF4-4247-A42B-BE1418B751B5}" dt="2021-09-20T19:36:55.498" v="2342" actId="478"/>
          <ac:picMkLst>
            <pc:docMk/>
            <pc:sldMk cId="3036436312" sldId="1807"/>
            <ac:picMk id="10" creationId="{79FEB4D1-F6F8-4DFD-9B39-20D465FB6758}"/>
          </ac:picMkLst>
        </pc:picChg>
        <pc:picChg chg="add del mod">
          <ac:chgData name="Michael Wiley" userId="c47109c9-80e8-471c-a0d8-79372bbb0a30" providerId="ADAL" clId="{B5FEA6F6-4EF4-4247-A42B-BE1418B751B5}" dt="2021-09-20T19:38:36.039" v="2351" actId="478"/>
          <ac:picMkLst>
            <pc:docMk/>
            <pc:sldMk cId="3036436312" sldId="1807"/>
            <ac:picMk id="12" creationId="{AECA6883-31CF-4E72-835D-5BE50271DAC2}"/>
          </ac:picMkLst>
        </pc:picChg>
      </pc:sldChg>
      <pc:sldChg chg="addSp delSp modSp add mod ord modShow">
        <pc:chgData name="Michael Wiley" userId="c47109c9-80e8-471c-a0d8-79372bbb0a30" providerId="ADAL" clId="{B5FEA6F6-4EF4-4247-A42B-BE1418B751B5}" dt="2021-10-01T13:28:27.131" v="2933"/>
        <pc:sldMkLst>
          <pc:docMk/>
          <pc:sldMk cId="636856898" sldId="1808"/>
        </pc:sldMkLst>
        <pc:spChg chg="mod">
          <ac:chgData name="Michael Wiley" userId="c47109c9-80e8-471c-a0d8-79372bbb0a30" providerId="ADAL" clId="{B5FEA6F6-4EF4-4247-A42B-BE1418B751B5}" dt="2021-10-01T13:26:18.948" v="2854" actId="5793"/>
          <ac:spMkLst>
            <pc:docMk/>
            <pc:sldMk cId="636856898" sldId="1808"/>
            <ac:spMk id="6" creationId="{00000000-0000-0000-0000-000000000000}"/>
          </ac:spMkLst>
        </pc:spChg>
        <pc:spChg chg="del">
          <ac:chgData name="Michael Wiley" userId="c47109c9-80e8-471c-a0d8-79372bbb0a30" providerId="ADAL" clId="{B5FEA6F6-4EF4-4247-A42B-BE1418B751B5}" dt="2021-10-01T13:20:57.793" v="2454" actId="478"/>
          <ac:spMkLst>
            <pc:docMk/>
            <pc:sldMk cId="636856898" sldId="1808"/>
            <ac:spMk id="7" creationId="{9AE9B22F-7DCE-4EED-B25C-BE9552209410}"/>
          </ac:spMkLst>
        </pc:spChg>
        <pc:spChg chg="add mod">
          <ac:chgData name="Michael Wiley" userId="c47109c9-80e8-471c-a0d8-79372bbb0a30" providerId="ADAL" clId="{B5FEA6F6-4EF4-4247-A42B-BE1418B751B5}" dt="2021-10-01T13:27:35.417" v="2930" actId="113"/>
          <ac:spMkLst>
            <pc:docMk/>
            <pc:sldMk cId="636856898" sldId="1808"/>
            <ac:spMk id="9" creationId="{418C45B4-BD61-454B-B736-C66BD9E3D929}"/>
          </ac:spMkLst>
        </pc:spChg>
      </pc:sldChg>
      <pc:sldChg chg="addSp delSp modSp add del mod delAnim modAnim modShow">
        <pc:chgData name="Michael Wiley" userId="c47109c9-80e8-471c-a0d8-79372bbb0a30" providerId="ADAL" clId="{B5FEA6F6-4EF4-4247-A42B-BE1418B751B5}" dt="2021-10-01T17:58:16.699" v="3362" actId="47"/>
        <pc:sldMkLst>
          <pc:docMk/>
          <pc:sldMk cId="1602294272" sldId="1809"/>
        </pc:sldMkLst>
        <pc:spChg chg="add del mod">
          <ac:chgData name="Michael Wiley" userId="c47109c9-80e8-471c-a0d8-79372bbb0a30" providerId="ADAL" clId="{B5FEA6F6-4EF4-4247-A42B-BE1418B751B5}" dt="2021-10-01T17:16:20.255" v="2995" actId="478"/>
          <ac:spMkLst>
            <pc:docMk/>
            <pc:sldMk cId="1602294272" sldId="1809"/>
            <ac:spMk id="4" creationId="{0DF5BEBC-282A-4CB5-BFFB-68166A62E36B}"/>
          </ac:spMkLst>
        </pc:spChg>
        <pc:spChg chg="add del mod">
          <ac:chgData name="Michael Wiley" userId="c47109c9-80e8-471c-a0d8-79372bbb0a30" providerId="ADAL" clId="{B5FEA6F6-4EF4-4247-A42B-BE1418B751B5}" dt="2021-10-01T17:18:16.101" v="3004" actId="478"/>
          <ac:spMkLst>
            <pc:docMk/>
            <pc:sldMk cId="1602294272" sldId="1809"/>
            <ac:spMk id="8" creationId="{046642BA-AD86-4DFC-B653-344F19D33571}"/>
          </ac:spMkLst>
        </pc:spChg>
        <pc:spChg chg="add del mod">
          <ac:chgData name="Michael Wiley" userId="c47109c9-80e8-471c-a0d8-79372bbb0a30" providerId="ADAL" clId="{B5FEA6F6-4EF4-4247-A42B-BE1418B751B5}" dt="2021-10-01T17:20:58.879" v="3019" actId="478"/>
          <ac:spMkLst>
            <pc:docMk/>
            <pc:sldMk cId="1602294272" sldId="1809"/>
            <ac:spMk id="15" creationId="{96003401-DE81-4F2E-9C26-BD6972FDC2D7}"/>
          </ac:spMkLst>
        </pc:spChg>
        <pc:spChg chg="add del">
          <ac:chgData name="Michael Wiley" userId="c47109c9-80e8-471c-a0d8-79372bbb0a30" providerId="ADAL" clId="{B5FEA6F6-4EF4-4247-A42B-BE1418B751B5}" dt="2021-10-01T17:20:53.302" v="3017" actId="11529"/>
          <ac:spMkLst>
            <pc:docMk/>
            <pc:sldMk cId="1602294272" sldId="1809"/>
            <ac:spMk id="16" creationId="{3D8B97D5-5B5B-47F6-9A99-9B0DB46B4BB7}"/>
          </ac:spMkLst>
        </pc:spChg>
        <pc:spChg chg="add del mod">
          <ac:chgData name="Michael Wiley" userId="c47109c9-80e8-471c-a0d8-79372bbb0a30" providerId="ADAL" clId="{B5FEA6F6-4EF4-4247-A42B-BE1418B751B5}" dt="2021-10-01T17:27:21.318" v="3059" actId="478"/>
          <ac:spMkLst>
            <pc:docMk/>
            <pc:sldMk cId="1602294272" sldId="1809"/>
            <ac:spMk id="22" creationId="{F3A3332D-D7B1-4CE4-93D2-0A6FF34D9C99}"/>
          </ac:spMkLst>
        </pc:spChg>
        <pc:spChg chg="add del mod">
          <ac:chgData name="Michael Wiley" userId="c47109c9-80e8-471c-a0d8-79372bbb0a30" providerId="ADAL" clId="{B5FEA6F6-4EF4-4247-A42B-BE1418B751B5}" dt="2021-10-01T17:27:59.725" v="3062" actId="478"/>
          <ac:spMkLst>
            <pc:docMk/>
            <pc:sldMk cId="1602294272" sldId="1809"/>
            <ac:spMk id="23" creationId="{C492B7BD-3135-49A4-A14F-70FE2C57904C}"/>
          </ac:spMkLst>
        </pc:spChg>
        <pc:spChg chg="add del mod">
          <ac:chgData name="Michael Wiley" userId="c47109c9-80e8-471c-a0d8-79372bbb0a30" providerId="ADAL" clId="{B5FEA6F6-4EF4-4247-A42B-BE1418B751B5}" dt="2021-10-01T17:28:37.907" v="3105" actId="478"/>
          <ac:spMkLst>
            <pc:docMk/>
            <pc:sldMk cId="1602294272" sldId="1809"/>
            <ac:spMk id="24" creationId="{AC110068-E15E-4200-8C85-69B995DC5E99}"/>
          </ac:spMkLst>
        </pc:spChg>
        <pc:spChg chg="add mod">
          <ac:chgData name="Michael Wiley" userId="c47109c9-80e8-471c-a0d8-79372bbb0a30" providerId="ADAL" clId="{B5FEA6F6-4EF4-4247-A42B-BE1418B751B5}" dt="2021-10-01T17:34:12.482" v="3194" actId="1076"/>
          <ac:spMkLst>
            <pc:docMk/>
            <pc:sldMk cId="1602294272" sldId="1809"/>
            <ac:spMk id="25" creationId="{2F8F7E62-B7EE-4D3F-A7BA-5AB3532C908D}"/>
          </ac:spMkLst>
        </pc:spChg>
        <pc:graphicFrameChg chg="mod">
          <ac:chgData name="Michael Wiley" userId="c47109c9-80e8-471c-a0d8-79372bbb0a30" providerId="ADAL" clId="{B5FEA6F6-4EF4-4247-A42B-BE1418B751B5}" dt="2021-10-01T17:40:32.235" v="3246"/>
          <ac:graphicFrameMkLst>
            <pc:docMk/>
            <pc:sldMk cId="1602294272" sldId="1809"/>
            <ac:graphicFrameMk id="17" creationId="{5768BE25-8529-4798-9A30-A3247E63EE2E}"/>
          </ac:graphicFrameMkLst>
        </pc:graphicFrameChg>
        <pc:graphicFrameChg chg="add del mod modGraphic">
          <ac:chgData name="Michael Wiley" userId="c47109c9-80e8-471c-a0d8-79372bbb0a30" providerId="ADAL" clId="{B5FEA6F6-4EF4-4247-A42B-BE1418B751B5}" dt="2021-10-01T17:23:16.395" v="3036" actId="478"/>
          <ac:graphicFrameMkLst>
            <pc:docMk/>
            <pc:sldMk cId="1602294272" sldId="1809"/>
            <ac:graphicFrameMk id="18" creationId="{49765117-5A46-47FC-AEC3-810AC2357545}"/>
          </ac:graphicFrameMkLst>
        </pc:graphicFrameChg>
        <pc:graphicFrameChg chg="add del mod modGraphic">
          <ac:chgData name="Michael Wiley" userId="c47109c9-80e8-471c-a0d8-79372bbb0a30" providerId="ADAL" clId="{B5FEA6F6-4EF4-4247-A42B-BE1418B751B5}" dt="2021-10-01T17:25:31.655" v="3050" actId="478"/>
          <ac:graphicFrameMkLst>
            <pc:docMk/>
            <pc:sldMk cId="1602294272" sldId="1809"/>
            <ac:graphicFrameMk id="19" creationId="{D912670E-3CF5-45DC-B75B-E92BAA6CF7C7}"/>
          </ac:graphicFrameMkLst>
        </pc:graphicFrameChg>
        <pc:picChg chg="del">
          <ac:chgData name="Michael Wiley" userId="c47109c9-80e8-471c-a0d8-79372bbb0a30" providerId="ADAL" clId="{B5FEA6F6-4EF4-4247-A42B-BE1418B751B5}" dt="2021-10-01T17:14:45.174" v="2992" actId="478"/>
          <ac:picMkLst>
            <pc:docMk/>
            <pc:sldMk cId="1602294272" sldId="1809"/>
            <ac:picMk id="5" creationId="{C1370F42-AEEE-4021-B5AD-275A98883DC6}"/>
          </ac:picMkLst>
        </pc:picChg>
        <pc:picChg chg="add del mod">
          <ac:chgData name="Michael Wiley" userId="c47109c9-80e8-471c-a0d8-79372bbb0a30" providerId="ADAL" clId="{B5FEA6F6-4EF4-4247-A42B-BE1418B751B5}" dt="2021-10-01T17:17:13.127" v="2998" actId="478"/>
          <ac:picMkLst>
            <pc:docMk/>
            <pc:sldMk cId="1602294272" sldId="1809"/>
            <ac:picMk id="7" creationId="{B7408842-1509-4CD8-93B7-448BAC8A5BAA}"/>
          </ac:picMkLst>
        </pc:picChg>
        <pc:cxnChg chg="add del mod">
          <ac:chgData name="Michael Wiley" userId="c47109c9-80e8-471c-a0d8-79372bbb0a30" providerId="ADAL" clId="{B5FEA6F6-4EF4-4247-A42B-BE1418B751B5}" dt="2021-10-01T17:19:09.205" v="3010" actId="478"/>
          <ac:cxnSpMkLst>
            <pc:docMk/>
            <pc:sldMk cId="1602294272" sldId="1809"/>
            <ac:cxnSpMk id="10" creationId="{7DDC2DE2-73E3-4A61-8D3C-DF6F2AF16E8C}"/>
          </ac:cxnSpMkLst>
        </pc:cxnChg>
        <pc:cxnChg chg="add del">
          <ac:chgData name="Michael Wiley" userId="c47109c9-80e8-471c-a0d8-79372bbb0a30" providerId="ADAL" clId="{B5FEA6F6-4EF4-4247-A42B-BE1418B751B5}" dt="2021-10-01T17:26:36.741" v="3055" actId="478"/>
          <ac:cxnSpMkLst>
            <pc:docMk/>
            <pc:sldMk cId="1602294272" sldId="1809"/>
            <ac:cxnSpMk id="21" creationId="{1646BEF7-088A-4070-918C-FCBC3F78DE2B}"/>
          </ac:cxnSpMkLst>
        </pc:cxnChg>
        <pc:cxnChg chg="add mod">
          <ac:chgData name="Michael Wiley" userId="c47109c9-80e8-471c-a0d8-79372bbb0a30" providerId="ADAL" clId="{B5FEA6F6-4EF4-4247-A42B-BE1418B751B5}" dt="2021-10-01T17:33:57.480" v="3192" actId="1076"/>
          <ac:cxnSpMkLst>
            <pc:docMk/>
            <pc:sldMk cId="1602294272" sldId="1809"/>
            <ac:cxnSpMk id="27" creationId="{A64E27A8-64A8-4EC7-B223-77981F04C28A}"/>
          </ac:cxnSpMkLst>
        </pc:cxnChg>
      </pc:sldChg>
      <pc:sldChg chg="addSp delSp modSp add mod delAnim modShow">
        <pc:chgData name="Michael Wiley" userId="c47109c9-80e8-471c-a0d8-79372bbb0a30" providerId="ADAL" clId="{B5FEA6F6-4EF4-4247-A42B-BE1418B751B5}" dt="2021-10-01T17:47:45.512" v="3305" actId="729"/>
        <pc:sldMkLst>
          <pc:docMk/>
          <pc:sldMk cId="4099431322" sldId="1814"/>
        </pc:sldMkLst>
        <pc:spChg chg="mod">
          <ac:chgData name="Michael Wiley" userId="c47109c9-80e8-471c-a0d8-79372bbb0a30" providerId="ADAL" clId="{B5FEA6F6-4EF4-4247-A42B-BE1418B751B5}" dt="2021-10-01T17:46:50.785" v="3300" actId="1076"/>
          <ac:spMkLst>
            <pc:docMk/>
            <pc:sldMk cId="4099431322" sldId="1814"/>
            <ac:spMk id="2" creationId="{00000000-0000-0000-0000-000000000000}"/>
          </ac:spMkLst>
        </pc:spChg>
        <pc:spChg chg="del">
          <ac:chgData name="Michael Wiley" userId="c47109c9-80e8-471c-a0d8-79372bbb0a30" providerId="ADAL" clId="{B5FEA6F6-4EF4-4247-A42B-BE1418B751B5}" dt="2021-10-01T17:38:11.325" v="3211" actId="478"/>
          <ac:spMkLst>
            <pc:docMk/>
            <pc:sldMk cId="4099431322" sldId="1814"/>
            <ac:spMk id="25" creationId="{2F8F7E62-B7EE-4D3F-A7BA-5AB3532C908D}"/>
          </ac:spMkLst>
        </pc:spChg>
        <pc:graphicFrameChg chg="add mod modGraphic">
          <ac:chgData name="Michael Wiley" userId="c47109c9-80e8-471c-a0d8-79372bbb0a30" providerId="ADAL" clId="{B5FEA6F6-4EF4-4247-A42B-BE1418B751B5}" dt="2021-10-01T17:46:18.010" v="3299"/>
          <ac:graphicFrameMkLst>
            <pc:docMk/>
            <pc:sldMk cId="4099431322" sldId="1814"/>
            <ac:graphicFrameMk id="4" creationId="{1AF61723-5420-4861-8D3E-C4C939A071A4}"/>
          </ac:graphicFrameMkLst>
        </pc:graphicFrameChg>
        <pc:graphicFrameChg chg="del mod">
          <ac:chgData name="Michael Wiley" userId="c47109c9-80e8-471c-a0d8-79372bbb0a30" providerId="ADAL" clId="{B5FEA6F6-4EF4-4247-A42B-BE1418B751B5}" dt="2021-10-01T17:41:23.957" v="3255" actId="478"/>
          <ac:graphicFrameMkLst>
            <pc:docMk/>
            <pc:sldMk cId="4099431322" sldId="1814"/>
            <ac:graphicFrameMk id="17" creationId="{5768BE25-8529-4798-9A30-A3247E63EE2E}"/>
          </ac:graphicFrameMkLst>
        </pc:graphicFrameChg>
        <pc:cxnChg chg="add mod">
          <ac:chgData name="Michael Wiley" userId="c47109c9-80e8-471c-a0d8-79372bbb0a30" providerId="ADAL" clId="{B5FEA6F6-4EF4-4247-A42B-BE1418B751B5}" dt="2021-10-01T17:47:32.077" v="3303" actId="14100"/>
          <ac:cxnSpMkLst>
            <pc:docMk/>
            <pc:sldMk cId="4099431322" sldId="1814"/>
            <ac:cxnSpMk id="6" creationId="{013A4078-CE3E-4507-8832-231D91E6BE76}"/>
          </ac:cxnSpMkLst>
        </pc:cxnChg>
        <pc:cxnChg chg="del">
          <ac:chgData name="Michael Wiley" userId="c47109c9-80e8-471c-a0d8-79372bbb0a30" providerId="ADAL" clId="{B5FEA6F6-4EF4-4247-A42B-BE1418B751B5}" dt="2021-10-01T17:38:07.166" v="3210" actId="478"/>
          <ac:cxnSpMkLst>
            <pc:docMk/>
            <pc:sldMk cId="4099431322" sldId="1814"/>
            <ac:cxnSpMk id="27" creationId="{A64E27A8-64A8-4EC7-B223-77981F04C28A}"/>
          </ac:cxnSpMkLst>
        </pc:cxnChg>
      </pc:sldChg>
      <pc:sldChg chg="modNotesTx">
        <pc:chgData name="Michael Wiley" userId="c47109c9-80e8-471c-a0d8-79372bbb0a30" providerId="ADAL" clId="{B5FEA6F6-4EF4-4247-A42B-BE1418B751B5}" dt="2021-10-01T18:23:02.218" v="3456" actId="20577"/>
        <pc:sldMkLst>
          <pc:docMk/>
          <pc:sldMk cId="618369180" sldId="1816"/>
        </pc:sldMkLst>
      </pc:sldChg>
      <pc:sldChg chg="addSp delSp modSp add del mod delAnim modShow">
        <pc:chgData name="Michael Wiley" userId="c47109c9-80e8-471c-a0d8-79372bbb0a30" providerId="ADAL" clId="{B5FEA6F6-4EF4-4247-A42B-BE1418B751B5}" dt="2021-10-01T17:58:23.535" v="3363" actId="47"/>
        <pc:sldMkLst>
          <pc:docMk/>
          <pc:sldMk cId="3620170437" sldId="1817"/>
        </pc:sldMkLst>
        <pc:spChg chg="add del mod">
          <ac:chgData name="Michael Wiley" userId="c47109c9-80e8-471c-a0d8-79372bbb0a30" providerId="ADAL" clId="{B5FEA6F6-4EF4-4247-A42B-BE1418B751B5}" dt="2021-10-01T17:52:57.953" v="3319" actId="478"/>
          <ac:spMkLst>
            <pc:docMk/>
            <pc:sldMk cId="3620170437" sldId="1817"/>
            <ac:spMk id="6" creationId="{D6319E84-DAA0-4F1E-8B8E-7DEC51275565}"/>
          </ac:spMkLst>
        </pc:spChg>
        <pc:spChg chg="add del mod">
          <ac:chgData name="Michael Wiley" userId="c47109c9-80e8-471c-a0d8-79372bbb0a30" providerId="ADAL" clId="{B5FEA6F6-4EF4-4247-A42B-BE1418B751B5}" dt="2021-10-01T17:54:34.370" v="3329" actId="478"/>
          <ac:spMkLst>
            <pc:docMk/>
            <pc:sldMk cId="3620170437" sldId="1817"/>
            <ac:spMk id="7" creationId="{CA43EEFB-B89C-4286-B8E4-4AAE4CC14FC6}"/>
          </ac:spMkLst>
        </pc:spChg>
        <pc:spChg chg="add mod">
          <ac:chgData name="Michael Wiley" userId="c47109c9-80e8-471c-a0d8-79372bbb0a30" providerId="ADAL" clId="{B5FEA6F6-4EF4-4247-A42B-BE1418B751B5}" dt="2021-10-01T17:56:59.311" v="3361" actId="14100"/>
          <ac:spMkLst>
            <pc:docMk/>
            <pc:sldMk cId="3620170437" sldId="1817"/>
            <ac:spMk id="8" creationId="{F86E7C00-C930-4D9D-B13A-D1127297F660}"/>
          </ac:spMkLst>
        </pc:spChg>
        <pc:spChg chg="add mod">
          <ac:chgData name="Michael Wiley" userId="c47109c9-80e8-471c-a0d8-79372bbb0a30" providerId="ADAL" clId="{B5FEA6F6-4EF4-4247-A42B-BE1418B751B5}" dt="2021-10-01T17:56:27.243" v="3359" actId="1076"/>
          <ac:spMkLst>
            <pc:docMk/>
            <pc:sldMk cId="3620170437" sldId="1817"/>
            <ac:spMk id="9" creationId="{49CCB8BF-E140-40E1-B993-00B49EA5FD1A}"/>
          </ac:spMkLst>
        </pc:spChg>
        <pc:spChg chg="del">
          <ac:chgData name="Michael Wiley" userId="c47109c9-80e8-471c-a0d8-79372bbb0a30" providerId="ADAL" clId="{B5FEA6F6-4EF4-4247-A42B-BE1418B751B5}" dt="2021-10-01T17:48:13.358" v="3310" actId="478"/>
          <ac:spMkLst>
            <pc:docMk/>
            <pc:sldMk cId="3620170437" sldId="1817"/>
            <ac:spMk id="25" creationId="{2F8F7E62-B7EE-4D3F-A7BA-5AB3532C908D}"/>
          </ac:spMkLst>
        </pc:spChg>
        <pc:graphicFrameChg chg="add del modGraphic">
          <ac:chgData name="Michael Wiley" userId="c47109c9-80e8-471c-a0d8-79372bbb0a30" providerId="ADAL" clId="{B5FEA6F6-4EF4-4247-A42B-BE1418B751B5}" dt="2021-10-01T17:50:03.323" v="3312" actId="478"/>
          <ac:graphicFrameMkLst>
            <pc:docMk/>
            <pc:sldMk cId="3620170437" sldId="1817"/>
            <ac:graphicFrameMk id="4" creationId="{C95B2FDB-E120-4225-B421-B6C8DA11CB53}"/>
          </ac:graphicFrameMkLst>
        </pc:graphicFrameChg>
        <pc:graphicFrameChg chg="add del modGraphic">
          <ac:chgData name="Michael Wiley" userId="c47109c9-80e8-471c-a0d8-79372bbb0a30" providerId="ADAL" clId="{B5FEA6F6-4EF4-4247-A42B-BE1418B751B5}" dt="2021-10-01T17:51:45.098" v="3315" actId="478"/>
          <ac:graphicFrameMkLst>
            <pc:docMk/>
            <pc:sldMk cId="3620170437" sldId="1817"/>
            <ac:graphicFrameMk id="5" creationId="{D3929CA6-FD10-4844-8CB2-2B3098B392D7}"/>
          </ac:graphicFrameMkLst>
        </pc:graphicFrameChg>
        <pc:graphicFrameChg chg="mod">
          <ac:chgData name="Michael Wiley" userId="c47109c9-80e8-471c-a0d8-79372bbb0a30" providerId="ADAL" clId="{B5FEA6F6-4EF4-4247-A42B-BE1418B751B5}" dt="2021-10-01T17:55:14.244" v="3331" actId="1076"/>
          <ac:graphicFrameMkLst>
            <pc:docMk/>
            <pc:sldMk cId="3620170437" sldId="1817"/>
            <ac:graphicFrameMk id="17" creationId="{5768BE25-8529-4798-9A30-A3247E63EE2E}"/>
          </ac:graphicFrameMkLst>
        </pc:graphicFrameChg>
        <pc:cxnChg chg="del">
          <ac:chgData name="Michael Wiley" userId="c47109c9-80e8-471c-a0d8-79372bbb0a30" providerId="ADAL" clId="{B5FEA6F6-4EF4-4247-A42B-BE1418B751B5}" dt="2021-10-01T17:48:10.242" v="3309" actId="478"/>
          <ac:cxnSpMkLst>
            <pc:docMk/>
            <pc:sldMk cId="3620170437" sldId="1817"/>
            <ac:cxnSpMk id="27" creationId="{A64E27A8-64A8-4EC7-B223-77981F04C28A}"/>
          </ac:cxnSpMkLst>
        </pc:cxnChg>
      </pc:sldChg>
    </pc:docChg>
  </pc:docChgLst>
  <pc:docChgLst>
    <pc:chgData name="Kory Thacher (APPS / POWERSHELL)" userId="995eb0f2-f21c-467c-a947-4f8fc26d0f2e" providerId="ADAL" clId="{2521250D-C9F9-4A75-B280-9040EE825173}"/>
    <pc:docChg chg="undo redo custSel addSld delSld modSld sldOrd modSection">
      <pc:chgData name="Kory Thacher (APPS / POWERSHELL)" userId="995eb0f2-f21c-467c-a947-4f8fc26d0f2e" providerId="ADAL" clId="{2521250D-C9F9-4A75-B280-9040EE825173}" dt="2021-10-20T19:09:32.673" v="5263"/>
      <pc:docMkLst>
        <pc:docMk/>
      </pc:docMkLst>
      <pc:sldChg chg="addCm">
        <pc:chgData name="Kory Thacher (APPS / POWERSHELL)" userId="995eb0f2-f21c-467c-a947-4f8fc26d0f2e" providerId="ADAL" clId="{2521250D-C9F9-4A75-B280-9040EE825173}" dt="2021-10-06T17:25:33.230" v="4272"/>
        <pc:sldMkLst>
          <pc:docMk/>
          <pc:sldMk cId="1023321655" sldId="256"/>
        </pc:sldMkLst>
      </pc:sldChg>
      <pc:sldChg chg="addCm">
        <pc:chgData name="Kory Thacher (APPS / POWERSHELL)" userId="995eb0f2-f21c-467c-a947-4f8fc26d0f2e" providerId="ADAL" clId="{2521250D-C9F9-4A75-B280-9040EE825173}" dt="2021-09-13T20:42:55.919" v="1729"/>
        <pc:sldMkLst>
          <pc:docMk/>
          <pc:sldMk cId="133639982" sldId="259"/>
        </pc:sldMkLst>
      </pc:sldChg>
      <pc:sldChg chg="del">
        <pc:chgData name="Kory Thacher (APPS / POWERSHELL)" userId="995eb0f2-f21c-467c-a947-4f8fc26d0f2e" providerId="ADAL" clId="{2521250D-C9F9-4A75-B280-9040EE825173}" dt="2021-09-13T18:04:59.305" v="81" actId="47"/>
        <pc:sldMkLst>
          <pc:docMk/>
          <pc:sldMk cId="719765010" sldId="262"/>
        </pc:sldMkLst>
      </pc:sldChg>
      <pc:sldChg chg="addCm modCm">
        <pc:chgData name="Kory Thacher (APPS / POWERSHELL)" userId="995eb0f2-f21c-467c-a947-4f8fc26d0f2e" providerId="ADAL" clId="{2521250D-C9F9-4A75-B280-9040EE825173}" dt="2021-10-06T17:24:49.280" v="4271"/>
        <pc:sldMkLst>
          <pc:docMk/>
          <pc:sldMk cId="1818355095" sldId="265"/>
        </pc:sldMkLst>
      </pc:sldChg>
      <pc:sldChg chg="modSp mod modCm">
        <pc:chgData name="Kory Thacher (APPS / POWERSHELL)" userId="995eb0f2-f21c-467c-a947-4f8fc26d0f2e" providerId="ADAL" clId="{2521250D-C9F9-4A75-B280-9040EE825173}" dt="2021-09-17T17:38:24.897" v="2133" actId="20577"/>
        <pc:sldMkLst>
          <pc:docMk/>
          <pc:sldMk cId="161585193" sldId="268"/>
        </pc:sldMkLst>
        <pc:spChg chg="mod">
          <ac:chgData name="Kory Thacher (APPS / POWERSHELL)" userId="995eb0f2-f21c-467c-a947-4f8fc26d0f2e" providerId="ADAL" clId="{2521250D-C9F9-4A75-B280-9040EE825173}" dt="2021-09-17T17:38:24.897" v="2133" actId="20577"/>
          <ac:spMkLst>
            <pc:docMk/>
            <pc:sldMk cId="161585193" sldId="268"/>
            <ac:spMk id="3" creationId="{24EE1C11-8FE9-4541-AA5C-33812D945615}"/>
          </ac:spMkLst>
        </pc:spChg>
        <pc:spChg chg="mod">
          <ac:chgData name="Kory Thacher (APPS / POWERSHELL)" userId="995eb0f2-f21c-467c-a947-4f8fc26d0f2e" providerId="ADAL" clId="{2521250D-C9F9-4A75-B280-9040EE825173}" dt="2021-08-23T17:54:52.397" v="29" actId="20577"/>
          <ac:spMkLst>
            <pc:docMk/>
            <pc:sldMk cId="161585193" sldId="268"/>
            <ac:spMk id="5" creationId="{A6E2E351-13CF-45CA-9AE1-AF0EFECBC9A5}"/>
          </ac:spMkLst>
        </pc:spChg>
      </pc:sldChg>
      <pc:sldChg chg="addCm">
        <pc:chgData name="Kory Thacher (APPS / POWERSHELL)" userId="995eb0f2-f21c-467c-a947-4f8fc26d0f2e" providerId="ADAL" clId="{2521250D-C9F9-4A75-B280-9040EE825173}" dt="2021-08-23T18:03:20.040" v="35"/>
        <pc:sldMkLst>
          <pc:docMk/>
          <pc:sldMk cId="2872290110" sldId="274"/>
        </pc:sldMkLst>
      </pc:sldChg>
      <pc:sldChg chg="del">
        <pc:chgData name="Kory Thacher (APPS / POWERSHELL)" userId="995eb0f2-f21c-467c-a947-4f8fc26d0f2e" providerId="ADAL" clId="{2521250D-C9F9-4A75-B280-9040EE825173}" dt="2021-10-01T18:12:24.544" v="4153" actId="47"/>
        <pc:sldMkLst>
          <pc:docMk/>
          <pc:sldMk cId="1158928145" sldId="287"/>
        </pc:sldMkLst>
      </pc:sldChg>
      <pc:sldChg chg="mod ord modShow">
        <pc:chgData name="Kory Thacher (APPS / POWERSHELL)" userId="995eb0f2-f21c-467c-a947-4f8fc26d0f2e" providerId="ADAL" clId="{2521250D-C9F9-4A75-B280-9040EE825173}" dt="2021-10-01T18:17:39.300" v="4157" actId="729"/>
        <pc:sldMkLst>
          <pc:docMk/>
          <pc:sldMk cId="3004075383" sldId="289"/>
        </pc:sldMkLst>
      </pc:sldChg>
      <pc:sldChg chg="modSp del mod addCm">
        <pc:chgData name="Kory Thacher (APPS / POWERSHELL)" userId="995eb0f2-f21c-467c-a947-4f8fc26d0f2e" providerId="ADAL" clId="{2521250D-C9F9-4A75-B280-9040EE825173}" dt="2021-09-17T17:49:49.101" v="2238" actId="47"/>
        <pc:sldMkLst>
          <pc:docMk/>
          <pc:sldMk cId="2234139494" sldId="292"/>
        </pc:sldMkLst>
        <pc:spChg chg="mod">
          <ac:chgData name="Kory Thacher (APPS / POWERSHELL)" userId="995eb0f2-f21c-467c-a947-4f8fc26d0f2e" providerId="ADAL" clId="{2521250D-C9F9-4A75-B280-9040EE825173}" dt="2021-08-23T18:09:04.701" v="46" actId="14100"/>
          <ac:spMkLst>
            <pc:docMk/>
            <pc:sldMk cId="2234139494" sldId="292"/>
            <ac:spMk id="9" creationId="{00000000-0000-0000-0000-000000000000}"/>
          </ac:spMkLst>
        </pc:spChg>
        <pc:spChg chg="mod">
          <ac:chgData name="Kory Thacher (APPS / POWERSHELL)" userId="995eb0f2-f21c-467c-a947-4f8fc26d0f2e" providerId="ADAL" clId="{2521250D-C9F9-4A75-B280-9040EE825173}" dt="2021-08-23T18:08:20.676" v="44" actId="20577"/>
          <ac:spMkLst>
            <pc:docMk/>
            <pc:sldMk cId="2234139494" sldId="292"/>
            <ac:spMk id="10" creationId="{00000000-0000-0000-0000-000000000000}"/>
          </ac:spMkLst>
        </pc:spChg>
      </pc:sldChg>
      <pc:sldChg chg="addSp delSp modSp del mod">
        <pc:chgData name="Kory Thacher (APPS / POWERSHELL)" userId="995eb0f2-f21c-467c-a947-4f8fc26d0f2e" providerId="ADAL" clId="{2521250D-C9F9-4A75-B280-9040EE825173}" dt="2021-10-01T18:17:59.410" v="4159" actId="47"/>
        <pc:sldMkLst>
          <pc:docMk/>
          <pc:sldMk cId="999495629" sldId="297"/>
        </pc:sldMkLst>
        <pc:spChg chg="add del mod">
          <ac:chgData name="Kory Thacher (APPS / POWERSHELL)" userId="995eb0f2-f21c-467c-a947-4f8fc26d0f2e" providerId="ADAL" clId="{2521250D-C9F9-4A75-B280-9040EE825173}" dt="2021-10-01T17:31:49.959" v="3236" actId="20577"/>
          <ac:spMkLst>
            <pc:docMk/>
            <pc:sldMk cId="999495629" sldId="297"/>
            <ac:spMk id="3" creationId="{00000000-0000-0000-0000-000000000000}"/>
          </ac:spMkLst>
        </pc:spChg>
        <pc:spChg chg="mod">
          <ac:chgData name="Kory Thacher (APPS / POWERSHELL)" userId="995eb0f2-f21c-467c-a947-4f8fc26d0f2e" providerId="ADAL" clId="{2521250D-C9F9-4A75-B280-9040EE825173}" dt="2021-10-01T17:31:48.414" v="3233" actId="1036"/>
          <ac:spMkLst>
            <pc:docMk/>
            <pc:sldMk cId="999495629" sldId="297"/>
            <ac:spMk id="8" creationId="{116F3ADC-E186-4D2D-9DAE-25E1A8C8A149}"/>
          </ac:spMkLst>
        </pc:spChg>
        <pc:graphicFrameChg chg="add del mod">
          <ac:chgData name="Kory Thacher (APPS / POWERSHELL)" userId="995eb0f2-f21c-467c-a947-4f8fc26d0f2e" providerId="ADAL" clId="{2521250D-C9F9-4A75-B280-9040EE825173}" dt="2021-10-01T17:31:48.721" v="3234" actId="12084"/>
          <ac:graphicFrameMkLst>
            <pc:docMk/>
            <pc:sldMk cId="999495629" sldId="297"/>
            <ac:graphicFrameMk id="4" creationId="{252C5AF1-ADC8-46D7-AD74-DA979B9C22E5}"/>
          </ac:graphicFrameMkLst>
        </pc:graphicFrameChg>
      </pc:sldChg>
      <pc:sldChg chg="delSp modSp mod ord addCm delCm">
        <pc:chgData name="Kory Thacher (APPS / POWERSHELL)" userId="995eb0f2-f21c-467c-a947-4f8fc26d0f2e" providerId="ADAL" clId="{2521250D-C9F9-4A75-B280-9040EE825173}" dt="2021-10-20T19:09:32.673" v="5263"/>
        <pc:sldMkLst>
          <pc:docMk/>
          <pc:sldMk cId="197440306" sldId="302"/>
        </pc:sldMkLst>
        <pc:spChg chg="mod">
          <ac:chgData name="Kory Thacher (APPS / POWERSHELL)" userId="995eb0f2-f21c-467c-a947-4f8fc26d0f2e" providerId="ADAL" clId="{2521250D-C9F9-4A75-B280-9040EE825173}" dt="2021-10-20T19:08:21.100" v="5248" actId="20577"/>
          <ac:spMkLst>
            <pc:docMk/>
            <pc:sldMk cId="197440306" sldId="302"/>
            <ac:spMk id="9" creationId="{00000000-0000-0000-0000-000000000000}"/>
          </ac:spMkLst>
        </pc:spChg>
        <pc:graphicFrameChg chg="mod">
          <ac:chgData name="Kory Thacher (APPS / POWERSHELL)" userId="995eb0f2-f21c-467c-a947-4f8fc26d0f2e" providerId="ADAL" clId="{2521250D-C9F9-4A75-B280-9040EE825173}" dt="2021-10-20T19:09:14.222" v="5262" actId="12100"/>
          <ac:graphicFrameMkLst>
            <pc:docMk/>
            <pc:sldMk cId="197440306" sldId="302"/>
            <ac:graphicFrameMk id="6" creationId="{AABE340B-27A4-4C51-8754-A5D97B0CFE80}"/>
          </ac:graphicFrameMkLst>
        </pc:graphicFrameChg>
        <pc:graphicFrameChg chg="del">
          <ac:chgData name="Kory Thacher (APPS / POWERSHELL)" userId="995eb0f2-f21c-467c-a947-4f8fc26d0f2e" providerId="ADAL" clId="{2521250D-C9F9-4A75-B280-9040EE825173}" dt="2021-10-20T19:08:06.679" v="5227" actId="478"/>
          <ac:graphicFrameMkLst>
            <pc:docMk/>
            <pc:sldMk cId="197440306" sldId="302"/>
            <ac:graphicFrameMk id="14" creationId="{54CCDCFE-6CEA-487A-861D-C82BE2C79D1E}"/>
          </ac:graphicFrameMkLst>
        </pc:graphicFrameChg>
        <pc:picChg chg="del">
          <ac:chgData name="Kory Thacher (APPS / POWERSHELL)" userId="995eb0f2-f21c-467c-a947-4f8fc26d0f2e" providerId="ADAL" clId="{2521250D-C9F9-4A75-B280-9040EE825173}" dt="2021-10-20T19:08:02.771" v="5225" actId="478"/>
          <ac:picMkLst>
            <pc:docMk/>
            <pc:sldMk cId="197440306" sldId="302"/>
            <ac:picMk id="7" creationId="{3E3A4C01-3988-4E2D-B61A-D6712B444421}"/>
          </ac:picMkLst>
        </pc:picChg>
        <pc:picChg chg="del">
          <ac:chgData name="Kory Thacher (APPS / POWERSHELL)" userId="995eb0f2-f21c-467c-a947-4f8fc26d0f2e" providerId="ADAL" clId="{2521250D-C9F9-4A75-B280-9040EE825173}" dt="2021-10-20T19:08:03.667" v="5226" actId="478"/>
          <ac:picMkLst>
            <pc:docMk/>
            <pc:sldMk cId="197440306" sldId="302"/>
            <ac:picMk id="15" creationId="{108A7306-D7EC-4F9D-9CC3-FE7A3D9DFAFB}"/>
          </ac:picMkLst>
        </pc:picChg>
      </pc:sldChg>
      <pc:sldChg chg="del">
        <pc:chgData name="Kory Thacher (APPS / POWERSHELL)" userId="995eb0f2-f21c-467c-a947-4f8fc26d0f2e" providerId="ADAL" clId="{2521250D-C9F9-4A75-B280-9040EE825173}" dt="2021-10-01T18:23:04.352" v="4233" actId="47"/>
        <pc:sldMkLst>
          <pc:docMk/>
          <pc:sldMk cId="90045176" sldId="303"/>
        </pc:sldMkLst>
      </pc:sldChg>
      <pc:sldChg chg="del">
        <pc:chgData name="Kory Thacher (APPS / POWERSHELL)" userId="995eb0f2-f21c-467c-a947-4f8fc26d0f2e" providerId="ADAL" clId="{2521250D-C9F9-4A75-B280-9040EE825173}" dt="2021-10-01T18:23:17.264" v="4234" actId="47"/>
        <pc:sldMkLst>
          <pc:docMk/>
          <pc:sldMk cId="1031054772" sldId="304"/>
        </pc:sldMkLst>
      </pc:sldChg>
      <pc:sldChg chg="addSp delSp modSp mod">
        <pc:chgData name="Kory Thacher (APPS / POWERSHELL)" userId="995eb0f2-f21c-467c-a947-4f8fc26d0f2e" providerId="ADAL" clId="{2521250D-C9F9-4A75-B280-9040EE825173}" dt="2021-10-01T17:44:01.716" v="3594" actId="113"/>
        <pc:sldMkLst>
          <pc:docMk/>
          <pc:sldMk cId="2114614514" sldId="305"/>
        </pc:sldMkLst>
        <pc:spChg chg="mod">
          <ac:chgData name="Kory Thacher (APPS / POWERSHELL)" userId="995eb0f2-f21c-467c-a947-4f8fc26d0f2e" providerId="ADAL" clId="{2521250D-C9F9-4A75-B280-9040EE825173}" dt="2021-10-01T17:40:31.472" v="3444" actId="1076"/>
          <ac:spMkLst>
            <pc:docMk/>
            <pc:sldMk cId="2114614514" sldId="305"/>
            <ac:spMk id="10" creationId="{00000000-0000-0000-0000-000000000000}"/>
          </ac:spMkLst>
        </pc:spChg>
        <pc:spChg chg="mod">
          <ac:chgData name="Kory Thacher (APPS / POWERSHELL)" userId="995eb0f2-f21c-467c-a947-4f8fc26d0f2e" providerId="ADAL" clId="{2521250D-C9F9-4A75-B280-9040EE825173}" dt="2021-10-01T17:43:52.019" v="3592" actId="1036"/>
          <ac:spMkLst>
            <pc:docMk/>
            <pc:sldMk cId="2114614514" sldId="305"/>
            <ac:spMk id="11" creationId="{FB597160-591E-425E-86D2-FD62313F1471}"/>
          </ac:spMkLst>
        </pc:spChg>
        <pc:spChg chg="del mod">
          <ac:chgData name="Kory Thacher (APPS / POWERSHELL)" userId="995eb0f2-f21c-467c-a947-4f8fc26d0f2e" providerId="ADAL" clId="{2521250D-C9F9-4A75-B280-9040EE825173}" dt="2021-10-01T17:41:16.690" v="3446" actId="12084"/>
          <ac:spMkLst>
            <pc:docMk/>
            <pc:sldMk cId="2114614514" sldId="305"/>
            <ac:spMk id="15" creationId="{55FA0F30-D98B-49B2-8612-12A61EA41194}"/>
          </ac:spMkLst>
        </pc:spChg>
        <pc:graphicFrameChg chg="add mod">
          <ac:chgData name="Kory Thacher (APPS / POWERSHELL)" userId="995eb0f2-f21c-467c-a947-4f8fc26d0f2e" providerId="ADAL" clId="{2521250D-C9F9-4A75-B280-9040EE825173}" dt="2021-10-01T17:44:01.716" v="3594" actId="113"/>
          <ac:graphicFrameMkLst>
            <pc:docMk/>
            <pc:sldMk cId="2114614514" sldId="305"/>
            <ac:graphicFrameMk id="3" creationId="{7F333596-3BB8-40CE-958B-0BE4014EAB2D}"/>
          </ac:graphicFrameMkLst>
        </pc:graphicFrameChg>
      </pc:sldChg>
      <pc:sldChg chg="del">
        <pc:chgData name="Kory Thacher (APPS / POWERSHELL)" userId="995eb0f2-f21c-467c-a947-4f8fc26d0f2e" providerId="ADAL" clId="{2521250D-C9F9-4A75-B280-9040EE825173}" dt="2021-10-01T18:31:59.711" v="4268" actId="47"/>
        <pc:sldMkLst>
          <pc:docMk/>
          <pc:sldMk cId="3122455038" sldId="310"/>
        </pc:sldMkLst>
      </pc:sldChg>
      <pc:sldChg chg="del">
        <pc:chgData name="Kory Thacher (APPS / POWERSHELL)" userId="995eb0f2-f21c-467c-a947-4f8fc26d0f2e" providerId="ADAL" clId="{2521250D-C9F9-4A75-B280-9040EE825173}" dt="2021-09-17T17:42:10.883" v="2175" actId="47"/>
        <pc:sldMkLst>
          <pc:docMk/>
          <pc:sldMk cId="2737677687" sldId="324"/>
        </pc:sldMkLst>
      </pc:sldChg>
      <pc:sldChg chg="modSp del mod modNotesTx">
        <pc:chgData name="Kory Thacher (APPS / POWERSHELL)" userId="995eb0f2-f21c-467c-a947-4f8fc26d0f2e" providerId="ADAL" clId="{2521250D-C9F9-4A75-B280-9040EE825173}" dt="2021-09-13T20:01:43.411" v="1442" actId="47"/>
        <pc:sldMkLst>
          <pc:docMk/>
          <pc:sldMk cId="1882440221" sldId="325"/>
        </pc:sldMkLst>
        <pc:graphicFrameChg chg="modGraphic">
          <ac:chgData name="Kory Thacher (APPS / POWERSHELL)" userId="995eb0f2-f21c-467c-a947-4f8fc26d0f2e" providerId="ADAL" clId="{2521250D-C9F9-4A75-B280-9040EE825173}" dt="2021-09-13T19:43:50.292" v="1221" actId="14734"/>
          <ac:graphicFrameMkLst>
            <pc:docMk/>
            <pc:sldMk cId="1882440221" sldId="325"/>
            <ac:graphicFrameMk id="2" creationId="{00DFD454-F652-4BA4-B0DA-571743499239}"/>
          </ac:graphicFrameMkLst>
        </pc:graphicFrameChg>
      </pc:sldChg>
      <pc:sldChg chg="modSp del">
        <pc:chgData name="Kory Thacher (APPS / POWERSHELL)" userId="995eb0f2-f21c-467c-a947-4f8fc26d0f2e" providerId="ADAL" clId="{2521250D-C9F9-4A75-B280-9040EE825173}" dt="2021-09-13T19:02:06.199" v="863" actId="47"/>
        <pc:sldMkLst>
          <pc:docMk/>
          <pc:sldMk cId="719473185" sldId="1733"/>
        </pc:sldMkLst>
        <pc:graphicFrameChg chg="mod">
          <ac:chgData name="Kory Thacher (APPS / POWERSHELL)" userId="995eb0f2-f21c-467c-a947-4f8fc26d0f2e" providerId="ADAL" clId="{2521250D-C9F9-4A75-B280-9040EE825173}" dt="2021-08-23T17:58:56.836" v="34" actId="12"/>
          <ac:graphicFrameMkLst>
            <pc:docMk/>
            <pc:sldMk cId="719473185" sldId="1733"/>
            <ac:graphicFrameMk id="5" creationId="{00000000-0000-0000-0000-000000000000}"/>
          </ac:graphicFrameMkLst>
        </pc:graphicFrameChg>
      </pc:sldChg>
      <pc:sldChg chg="del addCm">
        <pc:chgData name="Kory Thacher (APPS / POWERSHELL)" userId="995eb0f2-f21c-467c-a947-4f8fc26d0f2e" providerId="ADAL" clId="{2521250D-C9F9-4A75-B280-9040EE825173}" dt="2021-09-17T17:50:18.050" v="2239" actId="47"/>
        <pc:sldMkLst>
          <pc:docMk/>
          <pc:sldMk cId="928802381" sldId="1736"/>
        </pc:sldMkLst>
      </pc:sldChg>
      <pc:sldChg chg="modSp del mod ord">
        <pc:chgData name="Kory Thacher (APPS / POWERSHELL)" userId="995eb0f2-f21c-467c-a947-4f8fc26d0f2e" providerId="ADAL" clId="{2521250D-C9F9-4A75-B280-9040EE825173}" dt="2021-09-13T23:46:52.630" v="1949" actId="47"/>
        <pc:sldMkLst>
          <pc:docMk/>
          <pc:sldMk cId="1447259113" sldId="1737"/>
        </pc:sldMkLst>
        <pc:graphicFrameChg chg="mod modGraphic">
          <ac:chgData name="Kory Thacher (APPS / POWERSHELL)" userId="995eb0f2-f21c-467c-a947-4f8fc26d0f2e" providerId="ADAL" clId="{2521250D-C9F9-4A75-B280-9040EE825173}" dt="2021-09-13T23:46:37.824" v="1948" actId="14100"/>
          <ac:graphicFrameMkLst>
            <pc:docMk/>
            <pc:sldMk cId="1447259113" sldId="1737"/>
            <ac:graphicFrameMk id="3" creationId="{D0E0DB5C-7432-4211-B55B-5D6CE03F2884}"/>
          </ac:graphicFrameMkLst>
        </pc:graphicFrameChg>
      </pc:sldChg>
      <pc:sldChg chg="modSp add del mod">
        <pc:chgData name="Kory Thacher (APPS / POWERSHELL)" userId="995eb0f2-f21c-467c-a947-4f8fc26d0f2e" providerId="ADAL" clId="{2521250D-C9F9-4A75-B280-9040EE825173}" dt="2021-08-23T18:09:42.399" v="53" actId="47"/>
        <pc:sldMkLst>
          <pc:docMk/>
          <pc:sldMk cId="3608234995" sldId="1737"/>
        </pc:sldMkLst>
        <pc:spChg chg="mod">
          <ac:chgData name="Kory Thacher (APPS / POWERSHELL)" userId="995eb0f2-f21c-467c-a947-4f8fc26d0f2e" providerId="ADAL" clId="{2521250D-C9F9-4A75-B280-9040EE825173}" dt="2021-08-23T18:09:38.176" v="52" actId="1076"/>
          <ac:spMkLst>
            <pc:docMk/>
            <pc:sldMk cId="3608234995" sldId="1737"/>
            <ac:spMk id="9" creationId="{00000000-0000-0000-0000-000000000000}"/>
          </ac:spMkLst>
        </pc:spChg>
      </pc:sldChg>
      <pc:sldChg chg="del">
        <pc:chgData name="Kory Thacher (APPS / POWERSHELL)" userId="995eb0f2-f21c-467c-a947-4f8fc26d0f2e" providerId="ADAL" clId="{2521250D-C9F9-4A75-B280-9040EE825173}" dt="2021-10-01T18:20:38.986" v="4165" actId="47"/>
        <pc:sldMkLst>
          <pc:docMk/>
          <pc:sldMk cId="172314884" sldId="1740"/>
        </pc:sldMkLst>
      </pc:sldChg>
      <pc:sldChg chg="modSp mod addCm">
        <pc:chgData name="Kory Thacher (APPS / POWERSHELL)" userId="995eb0f2-f21c-467c-a947-4f8fc26d0f2e" providerId="ADAL" clId="{2521250D-C9F9-4A75-B280-9040EE825173}" dt="2021-10-01T18:32:16.652" v="4269"/>
        <pc:sldMkLst>
          <pc:docMk/>
          <pc:sldMk cId="1967107824" sldId="1743"/>
        </pc:sldMkLst>
        <pc:graphicFrameChg chg="mod">
          <ac:chgData name="Kory Thacher (APPS / POWERSHELL)" userId="995eb0f2-f21c-467c-a947-4f8fc26d0f2e" providerId="ADAL" clId="{2521250D-C9F9-4A75-B280-9040EE825173}" dt="2021-10-01T18:24:46.496" v="4240" actId="1076"/>
          <ac:graphicFrameMkLst>
            <pc:docMk/>
            <pc:sldMk cId="1967107824" sldId="1743"/>
            <ac:graphicFrameMk id="3" creationId="{D0E0DB5C-7432-4211-B55B-5D6CE03F2884}"/>
          </ac:graphicFrameMkLst>
        </pc:graphicFrameChg>
      </pc:sldChg>
      <pc:sldChg chg="del">
        <pc:chgData name="Kory Thacher (APPS / POWERSHELL)" userId="995eb0f2-f21c-467c-a947-4f8fc26d0f2e" providerId="ADAL" clId="{2521250D-C9F9-4A75-B280-9040EE825173}" dt="2021-10-01T18:31:52.528" v="4267" actId="47"/>
        <pc:sldMkLst>
          <pc:docMk/>
          <pc:sldMk cId="1115232774" sldId="1746"/>
        </pc:sldMkLst>
      </pc:sldChg>
      <pc:sldChg chg="modCm">
        <pc:chgData name="Kory Thacher (APPS / POWERSHELL)" userId="995eb0f2-f21c-467c-a947-4f8fc26d0f2e" providerId="ADAL" clId="{2521250D-C9F9-4A75-B280-9040EE825173}" dt="2021-10-20T19:05:26.613" v="4883"/>
        <pc:sldMkLst>
          <pc:docMk/>
          <pc:sldMk cId="92468747" sldId="1749"/>
        </pc:sldMkLst>
      </pc:sldChg>
      <pc:sldChg chg="del">
        <pc:chgData name="Kory Thacher (APPS / POWERSHELL)" userId="995eb0f2-f21c-467c-a947-4f8fc26d0f2e" providerId="ADAL" clId="{2521250D-C9F9-4A75-B280-9040EE825173}" dt="2021-09-13T18:04:52.946" v="80" actId="47"/>
        <pc:sldMkLst>
          <pc:docMk/>
          <pc:sldMk cId="1857600075" sldId="1751"/>
        </pc:sldMkLst>
      </pc:sldChg>
      <pc:sldChg chg="addSp delSp modSp add del mod modAnim addCm">
        <pc:chgData name="Kory Thacher (APPS / POWERSHELL)" userId="995eb0f2-f21c-467c-a947-4f8fc26d0f2e" providerId="ADAL" clId="{2521250D-C9F9-4A75-B280-9040EE825173}" dt="2021-09-17T17:41:03.781" v="2172" actId="47"/>
        <pc:sldMkLst>
          <pc:docMk/>
          <pc:sldMk cId="810639290" sldId="1752"/>
        </pc:sldMkLst>
        <pc:spChg chg="mod">
          <ac:chgData name="Kory Thacher (APPS / POWERSHELL)" userId="995eb0f2-f21c-467c-a947-4f8fc26d0f2e" providerId="ADAL" clId="{2521250D-C9F9-4A75-B280-9040EE825173}" dt="2021-09-13T20:44:06.662" v="1781" actId="20577"/>
          <ac:spMkLst>
            <pc:docMk/>
            <pc:sldMk cId="810639290" sldId="1752"/>
            <ac:spMk id="2" creationId="{00000000-0000-0000-0000-000000000000}"/>
          </ac:spMkLst>
        </pc:spChg>
        <pc:spChg chg="del mod">
          <ac:chgData name="Kory Thacher (APPS / POWERSHELL)" userId="995eb0f2-f21c-467c-a947-4f8fc26d0f2e" providerId="ADAL" clId="{2521250D-C9F9-4A75-B280-9040EE825173}" dt="2021-09-13T18:02:23.191" v="57" actId="12084"/>
          <ac:spMkLst>
            <pc:docMk/>
            <pc:sldMk cId="810639290" sldId="1752"/>
            <ac:spMk id="3" creationId="{17BD1628-9DFC-4AE5-B5A7-FB9BE57765CB}"/>
          </ac:spMkLst>
        </pc:spChg>
        <pc:spChg chg="del mod">
          <ac:chgData name="Kory Thacher (APPS / POWERSHELL)" userId="995eb0f2-f21c-467c-a947-4f8fc26d0f2e" providerId="ADAL" clId="{2521250D-C9F9-4A75-B280-9040EE825173}" dt="2021-09-13T18:02:42.649" v="58" actId="12084"/>
          <ac:spMkLst>
            <pc:docMk/>
            <pc:sldMk cId="810639290" sldId="1752"/>
            <ac:spMk id="4" creationId="{70C1CFD3-CF7E-462C-B776-F886775FFEB9}"/>
          </ac:spMkLst>
        </pc:spChg>
        <pc:spChg chg="del mod">
          <ac:chgData name="Kory Thacher (APPS / POWERSHELL)" userId="995eb0f2-f21c-467c-a947-4f8fc26d0f2e" providerId="ADAL" clId="{2521250D-C9F9-4A75-B280-9040EE825173}" dt="2021-09-13T18:02:48.154" v="59" actId="12084"/>
          <ac:spMkLst>
            <pc:docMk/>
            <pc:sldMk cId="810639290" sldId="1752"/>
            <ac:spMk id="5" creationId="{028C0575-187A-4650-ADA1-64B9CB66B89C}"/>
          </ac:spMkLst>
        </pc:spChg>
        <pc:spChg chg="mod">
          <ac:chgData name="Kory Thacher (APPS / POWERSHELL)" userId="995eb0f2-f21c-467c-a947-4f8fc26d0f2e" providerId="ADAL" clId="{2521250D-C9F9-4A75-B280-9040EE825173}" dt="2021-09-13T18:04:31.505" v="79" actId="113"/>
          <ac:spMkLst>
            <pc:docMk/>
            <pc:sldMk cId="810639290" sldId="1752"/>
            <ac:spMk id="14" creationId="{C53A5CCE-28DC-4161-833B-A0C97956700C}"/>
          </ac:spMkLst>
        </pc:spChg>
        <pc:graphicFrameChg chg="add mod">
          <ac:chgData name="Kory Thacher (APPS / POWERSHELL)" userId="995eb0f2-f21c-467c-a947-4f8fc26d0f2e" providerId="ADAL" clId="{2521250D-C9F9-4A75-B280-9040EE825173}" dt="2021-09-13T18:03:57.854" v="73" actId="113"/>
          <ac:graphicFrameMkLst>
            <pc:docMk/>
            <pc:sldMk cId="810639290" sldId="1752"/>
            <ac:graphicFrameMk id="7" creationId="{D16104A5-C3AB-4BB9-8F81-5E4616355C2D}"/>
          </ac:graphicFrameMkLst>
        </pc:graphicFrameChg>
        <pc:graphicFrameChg chg="add mod">
          <ac:chgData name="Kory Thacher (APPS / POWERSHELL)" userId="995eb0f2-f21c-467c-a947-4f8fc26d0f2e" providerId="ADAL" clId="{2521250D-C9F9-4A75-B280-9040EE825173}" dt="2021-09-13T18:04:01.402" v="75" actId="113"/>
          <ac:graphicFrameMkLst>
            <pc:docMk/>
            <pc:sldMk cId="810639290" sldId="1752"/>
            <ac:graphicFrameMk id="8" creationId="{42921541-FBBD-4AD6-BCBC-1F2515D07A4D}"/>
          </ac:graphicFrameMkLst>
        </pc:graphicFrameChg>
        <pc:graphicFrameChg chg="add mod">
          <ac:chgData name="Kory Thacher (APPS / POWERSHELL)" userId="995eb0f2-f21c-467c-a947-4f8fc26d0f2e" providerId="ADAL" clId="{2521250D-C9F9-4A75-B280-9040EE825173}" dt="2021-09-13T18:04:09.717" v="77" actId="113"/>
          <ac:graphicFrameMkLst>
            <pc:docMk/>
            <pc:sldMk cId="810639290" sldId="1752"/>
            <ac:graphicFrameMk id="9" creationId="{7A8E2527-7DCB-479B-A512-6245DC60DD5C}"/>
          </ac:graphicFrameMkLst>
        </pc:graphicFrameChg>
      </pc:sldChg>
      <pc:sldChg chg="modSp add del mod">
        <pc:chgData name="Kory Thacher (APPS / POWERSHELL)" userId="995eb0f2-f21c-467c-a947-4f8fc26d0f2e" providerId="ADAL" clId="{2521250D-C9F9-4A75-B280-9040EE825173}" dt="2021-09-13T19:30:41.783" v="1122" actId="47"/>
        <pc:sldMkLst>
          <pc:docMk/>
          <pc:sldMk cId="4252492870" sldId="1753"/>
        </pc:sldMkLst>
        <pc:graphicFrameChg chg="mod modGraphic">
          <ac:chgData name="Kory Thacher (APPS / POWERSHELL)" userId="995eb0f2-f21c-467c-a947-4f8fc26d0f2e" providerId="ADAL" clId="{2521250D-C9F9-4A75-B280-9040EE825173}" dt="2021-09-13T18:17:15.586" v="191"/>
          <ac:graphicFrameMkLst>
            <pc:docMk/>
            <pc:sldMk cId="4252492870" sldId="1753"/>
            <ac:graphicFrameMk id="5" creationId="{00000000-0000-0000-0000-000000000000}"/>
          </ac:graphicFrameMkLst>
        </pc:graphicFrameChg>
      </pc:sldChg>
      <pc:sldChg chg="modSp add del mod">
        <pc:chgData name="Kory Thacher (APPS / POWERSHELL)" userId="995eb0f2-f21c-467c-a947-4f8fc26d0f2e" providerId="ADAL" clId="{2521250D-C9F9-4A75-B280-9040EE825173}" dt="2021-09-13T19:01:34.823" v="862" actId="47"/>
        <pc:sldMkLst>
          <pc:docMk/>
          <pc:sldMk cId="3965060843" sldId="1755"/>
        </pc:sldMkLst>
        <pc:graphicFrameChg chg="mod modGraphic">
          <ac:chgData name="Kory Thacher (APPS / POWERSHELL)" userId="995eb0f2-f21c-467c-a947-4f8fc26d0f2e" providerId="ADAL" clId="{2521250D-C9F9-4A75-B280-9040EE825173}" dt="2021-09-13T19:01:19.130" v="861" actId="114"/>
          <ac:graphicFrameMkLst>
            <pc:docMk/>
            <pc:sldMk cId="3965060843" sldId="1755"/>
            <ac:graphicFrameMk id="5" creationId="{00000000-0000-0000-0000-000000000000}"/>
          </ac:graphicFrameMkLst>
        </pc:graphicFrameChg>
      </pc:sldChg>
      <pc:sldChg chg="add del ord">
        <pc:chgData name="Kory Thacher (APPS / POWERSHELL)" userId="995eb0f2-f21c-467c-a947-4f8fc26d0f2e" providerId="ADAL" clId="{2521250D-C9F9-4A75-B280-9040EE825173}" dt="2021-09-13T19:02:07.400" v="864" actId="47"/>
        <pc:sldMkLst>
          <pc:docMk/>
          <pc:sldMk cId="33986370" sldId="1756"/>
        </pc:sldMkLst>
      </pc:sldChg>
      <pc:sldChg chg="modSp add del mod modAnim">
        <pc:chgData name="Kory Thacher (APPS / POWERSHELL)" userId="995eb0f2-f21c-467c-a947-4f8fc26d0f2e" providerId="ADAL" clId="{2521250D-C9F9-4A75-B280-9040EE825173}" dt="2021-09-13T18:40:38.978" v="536" actId="47"/>
        <pc:sldMkLst>
          <pc:docMk/>
          <pc:sldMk cId="252990262" sldId="1757"/>
        </pc:sldMkLst>
        <pc:graphicFrameChg chg="mod modGraphic">
          <ac:chgData name="Kory Thacher (APPS / POWERSHELL)" userId="995eb0f2-f21c-467c-a947-4f8fc26d0f2e" providerId="ADAL" clId="{2521250D-C9F9-4A75-B280-9040EE825173}" dt="2021-09-13T18:40:33.280" v="535" actId="255"/>
          <ac:graphicFrameMkLst>
            <pc:docMk/>
            <pc:sldMk cId="252990262" sldId="1757"/>
            <ac:graphicFrameMk id="5" creationId="{00000000-0000-0000-0000-000000000000}"/>
          </ac:graphicFrameMkLst>
        </pc:graphicFrameChg>
      </pc:sldChg>
      <pc:sldChg chg="modSp add mod ord modAnim modShow addCm">
        <pc:chgData name="Kory Thacher (APPS / POWERSHELL)" userId="995eb0f2-f21c-467c-a947-4f8fc26d0f2e" providerId="ADAL" clId="{2521250D-C9F9-4A75-B280-9040EE825173}" dt="2021-09-13T19:36:04.546" v="1146"/>
        <pc:sldMkLst>
          <pc:docMk/>
          <pc:sldMk cId="66359807" sldId="1758"/>
        </pc:sldMkLst>
        <pc:graphicFrameChg chg="mod modGraphic">
          <ac:chgData name="Kory Thacher (APPS / POWERSHELL)" userId="995eb0f2-f21c-467c-a947-4f8fc26d0f2e" providerId="ADAL" clId="{2521250D-C9F9-4A75-B280-9040EE825173}" dt="2021-09-13T19:05:56.867" v="871" actId="17032"/>
          <ac:graphicFrameMkLst>
            <pc:docMk/>
            <pc:sldMk cId="66359807" sldId="1758"/>
            <ac:graphicFrameMk id="5" creationId="{00000000-0000-0000-0000-000000000000}"/>
          </ac:graphicFrameMkLst>
        </pc:graphicFrameChg>
      </pc:sldChg>
      <pc:sldChg chg="modSp add del modAnim">
        <pc:chgData name="Kory Thacher (APPS / POWERSHELL)" userId="995eb0f2-f21c-467c-a947-4f8fc26d0f2e" providerId="ADAL" clId="{2521250D-C9F9-4A75-B280-9040EE825173}" dt="2021-09-13T18:34:56.374" v="482" actId="47"/>
        <pc:sldMkLst>
          <pc:docMk/>
          <pc:sldMk cId="3527148587" sldId="1759"/>
        </pc:sldMkLst>
        <pc:graphicFrameChg chg="mod">
          <ac:chgData name="Kory Thacher (APPS / POWERSHELL)" userId="995eb0f2-f21c-467c-a947-4f8fc26d0f2e" providerId="ADAL" clId="{2521250D-C9F9-4A75-B280-9040EE825173}" dt="2021-09-13T18:19:29.383" v="200" actId="13782"/>
          <ac:graphicFrameMkLst>
            <pc:docMk/>
            <pc:sldMk cId="3527148587" sldId="1759"/>
            <ac:graphicFrameMk id="5" creationId="{00000000-0000-0000-0000-000000000000}"/>
          </ac:graphicFrameMkLst>
        </pc:graphicFrameChg>
      </pc:sldChg>
      <pc:sldChg chg="modSp add del modAnim">
        <pc:chgData name="Kory Thacher (APPS / POWERSHELL)" userId="995eb0f2-f21c-467c-a947-4f8fc26d0f2e" providerId="ADAL" clId="{2521250D-C9F9-4A75-B280-9040EE825173}" dt="2021-09-13T19:07:57.560" v="873" actId="47"/>
        <pc:sldMkLst>
          <pc:docMk/>
          <pc:sldMk cId="1654133275" sldId="1760"/>
        </pc:sldMkLst>
        <pc:graphicFrameChg chg="mod">
          <ac:chgData name="Kory Thacher (APPS / POWERSHELL)" userId="995eb0f2-f21c-467c-a947-4f8fc26d0f2e" providerId="ADAL" clId="{2521250D-C9F9-4A75-B280-9040EE825173}" dt="2021-09-13T19:07:51.323" v="872" actId="13822"/>
          <ac:graphicFrameMkLst>
            <pc:docMk/>
            <pc:sldMk cId="1654133275" sldId="1760"/>
            <ac:graphicFrameMk id="5" creationId="{00000000-0000-0000-0000-000000000000}"/>
          </ac:graphicFrameMkLst>
        </pc:graphicFrameChg>
      </pc:sldChg>
      <pc:sldChg chg="modSp add del mod modAnim">
        <pc:chgData name="Kory Thacher (APPS / POWERSHELL)" userId="995eb0f2-f21c-467c-a947-4f8fc26d0f2e" providerId="ADAL" clId="{2521250D-C9F9-4A75-B280-9040EE825173}" dt="2021-09-13T19:10:16.851" v="878" actId="47"/>
        <pc:sldMkLst>
          <pc:docMk/>
          <pc:sldMk cId="785270574" sldId="1761"/>
        </pc:sldMkLst>
        <pc:graphicFrameChg chg="mod modGraphic">
          <ac:chgData name="Kory Thacher (APPS / POWERSHELL)" userId="995eb0f2-f21c-467c-a947-4f8fc26d0f2e" providerId="ADAL" clId="{2521250D-C9F9-4A75-B280-9040EE825173}" dt="2021-09-13T18:33:22.745" v="458" actId="12100"/>
          <ac:graphicFrameMkLst>
            <pc:docMk/>
            <pc:sldMk cId="785270574" sldId="1761"/>
            <ac:graphicFrameMk id="5" creationId="{00000000-0000-0000-0000-000000000000}"/>
          </ac:graphicFrameMkLst>
        </pc:graphicFrameChg>
      </pc:sldChg>
      <pc:sldChg chg="addSp modSp add del mod modAnim">
        <pc:chgData name="Kory Thacher (APPS / POWERSHELL)" userId="995eb0f2-f21c-467c-a947-4f8fc26d0f2e" providerId="ADAL" clId="{2521250D-C9F9-4A75-B280-9040EE825173}" dt="2021-09-13T19:35:42.310" v="1144" actId="47"/>
        <pc:sldMkLst>
          <pc:docMk/>
          <pc:sldMk cId="4028298920" sldId="1762"/>
        </pc:sldMkLst>
        <pc:spChg chg="add mod">
          <ac:chgData name="Kory Thacher (APPS / POWERSHELL)" userId="995eb0f2-f21c-467c-a947-4f8fc26d0f2e" providerId="ADAL" clId="{2521250D-C9F9-4A75-B280-9040EE825173}" dt="2021-09-13T18:22:18.045" v="221"/>
          <ac:spMkLst>
            <pc:docMk/>
            <pc:sldMk cId="4028298920" sldId="1762"/>
            <ac:spMk id="9" creationId="{563487A0-8BA0-4B8C-A917-04A37663D0A0}"/>
          </ac:spMkLst>
        </pc:spChg>
        <pc:spChg chg="add mod">
          <ac:chgData name="Kory Thacher (APPS / POWERSHELL)" userId="995eb0f2-f21c-467c-a947-4f8fc26d0f2e" providerId="ADAL" clId="{2521250D-C9F9-4A75-B280-9040EE825173}" dt="2021-09-13T18:22:18.045" v="221"/>
          <ac:spMkLst>
            <pc:docMk/>
            <pc:sldMk cId="4028298920" sldId="1762"/>
            <ac:spMk id="10" creationId="{99426DEC-FB75-44EA-ADBD-DFDB1955D4AB}"/>
          </ac:spMkLst>
        </pc:spChg>
        <pc:spChg chg="add mod">
          <ac:chgData name="Kory Thacher (APPS / POWERSHELL)" userId="995eb0f2-f21c-467c-a947-4f8fc26d0f2e" providerId="ADAL" clId="{2521250D-C9F9-4A75-B280-9040EE825173}" dt="2021-09-13T18:22:18.045" v="221"/>
          <ac:spMkLst>
            <pc:docMk/>
            <pc:sldMk cId="4028298920" sldId="1762"/>
            <ac:spMk id="11" creationId="{6D93A9D1-229D-4A37-BE38-366C5CF4667C}"/>
          </ac:spMkLst>
        </pc:spChg>
        <pc:spChg chg="add mod">
          <ac:chgData name="Kory Thacher (APPS / POWERSHELL)" userId="995eb0f2-f21c-467c-a947-4f8fc26d0f2e" providerId="ADAL" clId="{2521250D-C9F9-4A75-B280-9040EE825173}" dt="2021-09-13T18:22:18.045" v="221"/>
          <ac:spMkLst>
            <pc:docMk/>
            <pc:sldMk cId="4028298920" sldId="1762"/>
            <ac:spMk id="12" creationId="{A97379D9-E54A-4FE9-9DA0-994F47B53E4F}"/>
          </ac:spMkLst>
        </pc:spChg>
        <pc:spChg chg="add mod">
          <ac:chgData name="Kory Thacher (APPS / POWERSHELL)" userId="995eb0f2-f21c-467c-a947-4f8fc26d0f2e" providerId="ADAL" clId="{2521250D-C9F9-4A75-B280-9040EE825173}" dt="2021-09-13T18:22:18.045" v="221"/>
          <ac:spMkLst>
            <pc:docMk/>
            <pc:sldMk cId="4028298920" sldId="1762"/>
            <ac:spMk id="13" creationId="{DCC6C77A-3371-4442-9E21-05C4A0B9A805}"/>
          </ac:spMkLst>
        </pc:spChg>
        <pc:spChg chg="add mod">
          <ac:chgData name="Kory Thacher (APPS / POWERSHELL)" userId="995eb0f2-f21c-467c-a947-4f8fc26d0f2e" providerId="ADAL" clId="{2521250D-C9F9-4A75-B280-9040EE825173}" dt="2021-09-13T18:22:18.045" v="221"/>
          <ac:spMkLst>
            <pc:docMk/>
            <pc:sldMk cId="4028298920" sldId="1762"/>
            <ac:spMk id="14" creationId="{AC8CADAC-B785-42D7-AF16-53E23CA1F515}"/>
          </ac:spMkLst>
        </pc:spChg>
        <pc:spChg chg="add mod">
          <ac:chgData name="Kory Thacher (APPS / POWERSHELL)" userId="995eb0f2-f21c-467c-a947-4f8fc26d0f2e" providerId="ADAL" clId="{2521250D-C9F9-4A75-B280-9040EE825173}" dt="2021-09-13T18:22:18.045" v="221"/>
          <ac:spMkLst>
            <pc:docMk/>
            <pc:sldMk cId="4028298920" sldId="1762"/>
            <ac:spMk id="15" creationId="{A07CAB4F-3978-4ED6-A345-08E18E86D1BD}"/>
          </ac:spMkLst>
        </pc:spChg>
        <pc:spChg chg="add mod">
          <ac:chgData name="Kory Thacher (APPS / POWERSHELL)" userId="995eb0f2-f21c-467c-a947-4f8fc26d0f2e" providerId="ADAL" clId="{2521250D-C9F9-4A75-B280-9040EE825173}" dt="2021-09-13T18:22:18.045" v="221"/>
          <ac:spMkLst>
            <pc:docMk/>
            <pc:sldMk cId="4028298920" sldId="1762"/>
            <ac:spMk id="16" creationId="{EFB9059E-E5BA-4E9A-80AE-C082176C425F}"/>
          </ac:spMkLst>
        </pc:spChg>
        <pc:grpChg chg="add mod">
          <ac:chgData name="Kory Thacher (APPS / POWERSHELL)" userId="995eb0f2-f21c-467c-a947-4f8fc26d0f2e" providerId="ADAL" clId="{2521250D-C9F9-4A75-B280-9040EE825173}" dt="2021-09-13T18:22:18.045" v="221"/>
          <ac:grpSpMkLst>
            <pc:docMk/>
            <pc:sldMk cId="4028298920" sldId="1762"/>
            <ac:grpSpMk id="4" creationId="{33C93B08-1097-4BD7-AE30-714EEDF86C86}"/>
          </ac:grpSpMkLst>
        </pc:grpChg>
        <pc:grpChg chg="add mod">
          <ac:chgData name="Kory Thacher (APPS / POWERSHELL)" userId="995eb0f2-f21c-467c-a947-4f8fc26d0f2e" providerId="ADAL" clId="{2521250D-C9F9-4A75-B280-9040EE825173}" dt="2021-09-13T18:22:18.045" v="221"/>
          <ac:grpSpMkLst>
            <pc:docMk/>
            <pc:sldMk cId="4028298920" sldId="1762"/>
            <ac:grpSpMk id="6" creationId="{F80F661A-776F-44F3-A9C4-7F34FB58CB76}"/>
          </ac:grpSpMkLst>
        </pc:grpChg>
        <pc:grpChg chg="add mod">
          <ac:chgData name="Kory Thacher (APPS / POWERSHELL)" userId="995eb0f2-f21c-467c-a947-4f8fc26d0f2e" providerId="ADAL" clId="{2521250D-C9F9-4A75-B280-9040EE825173}" dt="2021-09-13T18:22:18.045" v="221"/>
          <ac:grpSpMkLst>
            <pc:docMk/>
            <pc:sldMk cId="4028298920" sldId="1762"/>
            <ac:grpSpMk id="7" creationId="{A7A92EEB-5A8D-48A7-AF9C-9E8919D64F36}"/>
          </ac:grpSpMkLst>
        </pc:grpChg>
        <pc:grpChg chg="add mod">
          <ac:chgData name="Kory Thacher (APPS / POWERSHELL)" userId="995eb0f2-f21c-467c-a947-4f8fc26d0f2e" providerId="ADAL" clId="{2521250D-C9F9-4A75-B280-9040EE825173}" dt="2021-09-13T18:22:18.045" v="221"/>
          <ac:grpSpMkLst>
            <pc:docMk/>
            <pc:sldMk cId="4028298920" sldId="1762"/>
            <ac:grpSpMk id="8" creationId="{5D431769-25E6-435A-BFCE-CF5ED9F23800}"/>
          </ac:grpSpMkLst>
        </pc:grpChg>
        <pc:graphicFrameChg chg="mod modGraphic">
          <ac:chgData name="Kory Thacher (APPS / POWERSHELL)" userId="995eb0f2-f21c-467c-a947-4f8fc26d0f2e" providerId="ADAL" clId="{2521250D-C9F9-4A75-B280-9040EE825173}" dt="2021-09-13T18:33:36.692" v="459" actId="12100"/>
          <ac:graphicFrameMkLst>
            <pc:docMk/>
            <pc:sldMk cId="4028298920" sldId="1762"/>
            <ac:graphicFrameMk id="5" creationId="{00000000-0000-0000-0000-000000000000}"/>
          </ac:graphicFrameMkLst>
        </pc:graphicFrameChg>
        <pc:graphicFrameChg chg="add mod modGraphic">
          <ac:chgData name="Kory Thacher (APPS / POWERSHELL)" userId="995eb0f2-f21c-467c-a947-4f8fc26d0f2e" providerId="ADAL" clId="{2521250D-C9F9-4A75-B280-9040EE825173}" dt="2021-09-13T19:13:00.543" v="943" actId="113"/>
          <ac:graphicFrameMkLst>
            <pc:docMk/>
            <pc:sldMk cId="4028298920" sldId="1762"/>
            <ac:graphicFrameMk id="17" creationId="{6ED2A46D-50B7-46CE-9507-6DF5FC900B67}"/>
          </ac:graphicFrameMkLst>
        </pc:graphicFrameChg>
      </pc:sldChg>
      <pc:sldChg chg="modSp add del mod modNotesTx">
        <pc:chgData name="Kory Thacher (APPS / POWERSHELL)" userId="995eb0f2-f21c-467c-a947-4f8fc26d0f2e" providerId="ADAL" clId="{2521250D-C9F9-4A75-B280-9040EE825173}" dt="2021-09-13T20:01:43.411" v="1442" actId="47"/>
        <pc:sldMkLst>
          <pc:docMk/>
          <pc:sldMk cId="841659958" sldId="1763"/>
        </pc:sldMkLst>
        <pc:graphicFrameChg chg="modGraphic">
          <ac:chgData name="Kory Thacher (APPS / POWERSHELL)" userId="995eb0f2-f21c-467c-a947-4f8fc26d0f2e" providerId="ADAL" clId="{2521250D-C9F9-4A75-B280-9040EE825173}" dt="2021-09-13T18:43:16.553" v="612" actId="20577"/>
          <ac:graphicFrameMkLst>
            <pc:docMk/>
            <pc:sldMk cId="841659958" sldId="1763"/>
            <ac:graphicFrameMk id="2" creationId="{00DFD454-F652-4BA4-B0DA-571743499239}"/>
          </ac:graphicFrameMkLst>
        </pc:graphicFrameChg>
        <pc:picChg chg="mod">
          <ac:chgData name="Kory Thacher (APPS / POWERSHELL)" userId="995eb0f2-f21c-467c-a947-4f8fc26d0f2e" providerId="ADAL" clId="{2521250D-C9F9-4A75-B280-9040EE825173}" dt="2021-09-13T18:42:23.848" v="564" actId="1076"/>
          <ac:picMkLst>
            <pc:docMk/>
            <pc:sldMk cId="841659958" sldId="1763"/>
            <ac:picMk id="19" creationId="{4F19D4D7-F0AF-4F4A-BAFE-FBB18E1CBCC3}"/>
          </ac:picMkLst>
        </pc:picChg>
        <pc:picChg chg="mod">
          <ac:chgData name="Kory Thacher (APPS / POWERSHELL)" userId="995eb0f2-f21c-467c-a947-4f8fc26d0f2e" providerId="ADAL" clId="{2521250D-C9F9-4A75-B280-9040EE825173}" dt="2021-09-13T18:42:13.102" v="562" actId="1076"/>
          <ac:picMkLst>
            <pc:docMk/>
            <pc:sldMk cId="841659958" sldId="1763"/>
            <ac:picMk id="23" creationId="{C2034D83-FEF0-4B22-967D-3A87682CF13F}"/>
          </ac:picMkLst>
        </pc:picChg>
        <pc:picChg chg="mod">
          <ac:chgData name="Kory Thacher (APPS / POWERSHELL)" userId="995eb0f2-f21c-467c-a947-4f8fc26d0f2e" providerId="ADAL" clId="{2521250D-C9F9-4A75-B280-9040EE825173}" dt="2021-09-13T18:42:17.305" v="563" actId="1076"/>
          <ac:picMkLst>
            <pc:docMk/>
            <pc:sldMk cId="841659958" sldId="1763"/>
            <ac:picMk id="25" creationId="{A4E0E679-BEF4-4D65-8041-C857EDFF6962}"/>
          </ac:picMkLst>
        </pc:picChg>
      </pc:sldChg>
      <pc:sldChg chg="addSp delSp modSp add del mod modNotesTx">
        <pc:chgData name="Kory Thacher (APPS / POWERSHELL)" userId="995eb0f2-f21c-467c-a947-4f8fc26d0f2e" providerId="ADAL" clId="{2521250D-C9F9-4A75-B280-9040EE825173}" dt="2021-09-13T20:01:43.411" v="1442" actId="47"/>
        <pc:sldMkLst>
          <pc:docMk/>
          <pc:sldMk cId="9652173" sldId="1764"/>
        </pc:sldMkLst>
        <pc:graphicFrameChg chg="mod modGraphic">
          <ac:chgData name="Kory Thacher (APPS / POWERSHELL)" userId="995eb0f2-f21c-467c-a947-4f8fc26d0f2e" providerId="ADAL" clId="{2521250D-C9F9-4A75-B280-9040EE825173}" dt="2021-09-13T18:44:47.008" v="629" actId="122"/>
          <ac:graphicFrameMkLst>
            <pc:docMk/>
            <pc:sldMk cId="9652173" sldId="1764"/>
            <ac:graphicFrameMk id="2" creationId="{00DFD454-F652-4BA4-B0DA-571743499239}"/>
          </ac:graphicFrameMkLst>
        </pc:graphicFrameChg>
        <pc:picChg chg="add del mod">
          <ac:chgData name="Kory Thacher (APPS / POWERSHELL)" userId="995eb0f2-f21c-467c-a947-4f8fc26d0f2e" providerId="ADAL" clId="{2521250D-C9F9-4A75-B280-9040EE825173}" dt="2021-09-13T18:45:37.665" v="648" actId="478"/>
          <ac:picMkLst>
            <pc:docMk/>
            <pc:sldMk cId="9652173" sldId="1764"/>
            <ac:picMk id="5" creationId="{F2EDC5E1-3E8B-4B2D-A289-D4DB83B7806C}"/>
          </ac:picMkLst>
        </pc:picChg>
        <pc:picChg chg="add mod">
          <ac:chgData name="Kory Thacher (APPS / POWERSHELL)" userId="995eb0f2-f21c-467c-a947-4f8fc26d0f2e" providerId="ADAL" clId="{2521250D-C9F9-4A75-B280-9040EE825173}" dt="2021-09-13T18:47:35.744" v="682" actId="1035"/>
          <ac:picMkLst>
            <pc:docMk/>
            <pc:sldMk cId="9652173" sldId="1764"/>
            <ac:picMk id="7" creationId="{9AFC92D1-F646-4C01-826E-2670B4E351E3}"/>
          </ac:picMkLst>
        </pc:picChg>
        <pc:picChg chg="add mod">
          <ac:chgData name="Kory Thacher (APPS / POWERSHELL)" userId="995eb0f2-f21c-467c-a947-4f8fc26d0f2e" providerId="ADAL" clId="{2521250D-C9F9-4A75-B280-9040EE825173}" dt="2021-09-13T18:47:51.585" v="692" actId="1076"/>
          <ac:picMkLst>
            <pc:docMk/>
            <pc:sldMk cId="9652173" sldId="1764"/>
            <ac:picMk id="9" creationId="{14B887AC-C67F-4338-9A62-13069BBBCF68}"/>
          </ac:picMkLst>
        </pc:picChg>
        <pc:picChg chg="add mod">
          <ac:chgData name="Kory Thacher (APPS / POWERSHELL)" userId="995eb0f2-f21c-467c-a947-4f8fc26d0f2e" providerId="ADAL" clId="{2521250D-C9F9-4A75-B280-9040EE825173}" dt="2021-09-13T18:47:35.744" v="682" actId="1035"/>
          <ac:picMkLst>
            <pc:docMk/>
            <pc:sldMk cId="9652173" sldId="1764"/>
            <ac:picMk id="11" creationId="{EA2DE1CD-E5DC-450A-BF57-9F368467B075}"/>
          </ac:picMkLst>
        </pc:picChg>
        <pc:picChg chg="add mod">
          <ac:chgData name="Kory Thacher (APPS / POWERSHELL)" userId="995eb0f2-f21c-467c-a947-4f8fc26d0f2e" providerId="ADAL" clId="{2521250D-C9F9-4A75-B280-9040EE825173}" dt="2021-09-13T18:47:35.744" v="682" actId="1035"/>
          <ac:picMkLst>
            <pc:docMk/>
            <pc:sldMk cId="9652173" sldId="1764"/>
            <ac:picMk id="12" creationId="{CE6796FE-FB17-4D3F-B061-2FF621553BF2}"/>
          </ac:picMkLst>
        </pc:picChg>
        <pc:picChg chg="add mod">
          <ac:chgData name="Kory Thacher (APPS / POWERSHELL)" userId="995eb0f2-f21c-467c-a947-4f8fc26d0f2e" providerId="ADAL" clId="{2521250D-C9F9-4A75-B280-9040EE825173}" dt="2021-09-13T18:47:48.252" v="691" actId="1076"/>
          <ac:picMkLst>
            <pc:docMk/>
            <pc:sldMk cId="9652173" sldId="1764"/>
            <ac:picMk id="15" creationId="{B54C99B4-7F3D-48B4-A5F5-6FED5DA02F32}"/>
          </ac:picMkLst>
        </pc:picChg>
        <pc:picChg chg="add mod">
          <ac:chgData name="Kory Thacher (APPS / POWERSHELL)" userId="995eb0f2-f21c-467c-a947-4f8fc26d0f2e" providerId="ADAL" clId="{2521250D-C9F9-4A75-B280-9040EE825173}" dt="2021-09-13T18:47:35.744" v="682" actId="1035"/>
          <ac:picMkLst>
            <pc:docMk/>
            <pc:sldMk cId="9652173" sldId="1764"/>
            <ac:picMk id="16" creationId="{129E32BA-2A38-45E4-8D57-4E76ECA12579}"/>
          </ac:picMkLst>
        </pc:picChg>
        <pc:picChg chg="del mod">
          <ac:chgData name="Kory Thacher (APPS / POWERSHELL)" userId="995eb0f2-f21c-467c-a947-4f8fc26d0f2e" providerId="ADAL" clId="{2521250D-C9F9-4A75-B280-9040EE825173}" dt="2021-09-13T18:45:59.286" v="650" actId="478"/>
          <ac:picMkLst>
            <pc:docMk/>
            <pc:sldMk cId="9652173" sldId="1764"/>
            <ac:picMk id="19" creationId="{4F19D4D7-F0AF-4F4A-BAFE-FBB18E1CBCC3}"/>
          </ac:picMkLst>
        </pc:picChg>
        <pc:picChg chg="del mod">
          <ac:chgData name="Kory Thacher (APPS / POWERSHELL)" userId="995eb0f2-f21c-467c-a947-4f8fc26d0f2e" providerId="ADAL" clId="{2521250D-C9F9-4A75-B280-9040EE825173}" dt="2021-09-13T18:45:59.286" v="650" actId="478"/>
          <ac:picMkLst>
            <pc:docMk/>
            <pc:sldMk cId="9652173" sldId="1764"/>
            <ac:picMk id="23" creationId="{C2034D83-FEF0-4B22-967D-3A87682CF13F}"/>
          </ac:picMkLst>
        </pc:picChg>
        <pc:picChg chg="del mod">
          <ac:chgData name="Kory Thacher (APPS / POWERSHELL)" userId="995eb0f2-f21c-467c-a947-4f8fc26d0f2e" providerId="ADAL" clId="{2521250D-C9F9-4A75-B280-9040EE825173}" dt="2021-09-13T18:45:59.286" v="650" actId="478"/>
          <ac:picMkLst>
            <pc:docMk/>
            <pc:sldMk cId="9652173" sldId="1764"/>
            <ac:picMk id="25" creationId="{A4E0E679-BEF4-4D65-8041-C857EDFF6962}"/>
          </ac:picMkLst>
        </pc:picChg>
      </pc:sldChg>
      <pc:sldChg chg="modSp add del mod">
        <pc:chgData name="Kory Thacher (APPS / POWERSHELL)" userId="995eb0f2-f21c-467c-a947-4f8fc26d0f2e" providerId="ADAL" clId="{2521250D-C9F9-4A75-B280-9040EE825173}" dt="2021-09-13T18:50:11.184" v="718" actId="47"/>
        <pc:sldMkLst>
          <pc:docMk/>
          <pc:sldMk cId="1105042135" sldId="1765"/>
        </pc:sldMkLst>
        <pc:graphicFrameChg chg="modGraphic">
          <ac:chgData name="Kory Thacher (APPS / POWERSHELL)" userId="995eb0f2-f21c-467c-a947-4f8fc26d0f2e" providerId="ADAL" clId="{2521250D-C9F9-4A75-B280-9040EE825173}" dt="2021-09-13T18:48:36.228" v="696" actId="14100"/>
          <ac:graphicFrameMkLst>
            <pc:docMk/>
            <pc:sldMk cId="1105042135" sldId="1765"/>
            <ac:graphicFrameMk id="2" creationId="{00DFD454-F652-4BA4-B0DA-571743499239}"/>
          </ac:graphicFrameMkLst>
        </pc:graphicFrameChg>
      </pc:sldChg>
      <pc:sldChg chg="modSp add del mod modNotesTx">
        <pc:chgData name="Kory Thacher (APPS / POWERSHELL)" userId="995eb0f2-f21c-467c-a947-4f8fc26d0f2e" providerId="ADAL" clId="{2521250D-C9F9-4A75-B280-9040EE825173}" dt="2021-09-13T20:01:43.411" v="1442" actId="47"/>
        <pc:sldMkLst>
          <pc:docMk/>
          <pc:sldMk cId="3849932407" sldId="1766"/>
        </pc:sldMkLst>
        <pc:graphicFrameChg chg="modGraphic">
          <ac:chgData name="Kory Thacher (APPS / POWERSHELL)" userId="995eb0f2-f21c-467c-a947-4f8fc26d0f2e" providerId="ADAL" clId="{2521250D-C9F9-4A75-B280-9040EE825173}" dt="2021-09-13T18:51:47.354" v="743" actId="6549"/>
          <ac:graphicFrameMkLst>
            <pc:docMk/>
            <pc:sldMk cId="3849932407" sldId="1766"/>
            <ac:graphicFrameMk id="2" creationId="{00DFD454-F652-4BA4-B0DA-571743499239}"/>
          </ac:graphicFrameMkLst>
        </pc:graphicFrameChg>
        <pc:picChg chg="mod">
          <ac:chgData name="Kory Thacher (APPS / POWERSHELL)" userId="995eb0f2-f21c-467c-a947-4f8fc26d0f2e" providerId="ADAL" clId="{2521250D-C9F9-4A75-B280-9040EE825173}" dt="2021-09-13T18:51:53.912" v="746" actId="1035"/>
          <ac:picMkLst>
            <pc:docMk/>
            <pc:sldMk cId="3849932407" sldId="1766"/>
            <ac:picMk id="7" creationId="{9AFC92D1-F646-4C01-826E-2670B4E351E3}"/>
          </ac:picMkLst>
        </pc:picChg>
        <pc:picChg chg="mod">
          <ac:chgData name="Kory Thacher (APPS / POWERSHELL)" userId="995eb0f2-f21c-467c-a947-4f8fc26d0f2e" providerId="ADAL" clId="{2521250D-C9F9-4A75-B280-9040EE825173}" dt="2021-09-13T18:51:53.912" v="746" actId="1035"/>
          <ac:picMkLst>
            <pc:docMk/>
            <pc:sldMk cId="3849932407" sldId="1766"/>
            <ac:picMk id="9" creationId="{14B887AC-C67F-4338-9A62-13069BBBCF68}"/>
          </ac:picMkLst>
        </pc:picChg>
        <pc:picChg chg="mod">
          <ac:chgData name="Kory Thacher (APPS / POWERSHELL)" userId="995eb0f2-f21c-467c-a947-4f8fc26d0f2e" providerId="ADAL" clId="{2521250D-C9F9-4A75-B280-9040EE825173}" dt="2021-09-13T18:51:53.912" v="746" actId="1035"/>
          <ac:picMkLst>
            <pc:docMk/>
            <pc:sldMk cId="3849932407" sldId="1766"/>
            <ac:picMk id="11" creationId="{EA2DE1CD-E5DC-450A-BF57-9F368467B075}"/>
          </ac:picMkLst>
        </pc:picChg>
        <pc:picChg chg="mod">
          <ac:chgData name="Kory Thacher (APPS / POWERSHELL)" userId="995eb0f2-f21c-467c-a947-4f8fc26d0f2e" providerId="ADAL" clId="{2521250D-C9F9-4A75-B280-9040EE825173}" dt="2021-09-13T18:51:53.912" v="746" actId="1035"/>
          <ac:picMkLst>
            <pc:docMk/>
            <pc:sldMk cId="3849932407" sldId="1766"/>
            <ac:picMk id="12" creationId="{CE6796FE-FB17-4D3F-B061-2FF621553BF2}"/>
          </ac:picMkLst>
        </pc:picChg>
        <pc:picChg chg="mod">
          <ac:chgData name="Kory Thacher (APPS / POWERSHELL)" userId="995eb0f2-f21c-467c-a947-4f8fc26d0f2e" providerId="ADAL" clId="{2521250D-C9F9-4A75-B280-9040EE825173}" dt="2021-09-13T18:51:53.912" v="746" actId="1035"/>
          <ac:picMkLst>
            <pc:docMk/>
            <pc:sldMk cId="3849932407" sldId="1766"/>
            <ac:picMk id="15" creationId="{B54C99B4-7F3D-48B4-A5F5-6FED5DA02F32}"/>
          </ac:picMkLst>
        </pc:picChg>
        <pc:picChg chg="mod">
          <ac:chgData name="Kory Thacher (APPS / POWERSHELL)" userId="995eb0f2-f21c-467c-a947-4f8fc26d0f2e" providerId="ADAL" clId="{2521250D-C9F9-4A75-B280-9040EE825173}" dt="2021-09-13T18:51:53.912" v="746" actId="1035"/>
          <ac:picMkLst>
            <pc:docMk/>
            <pc:sldMk cId="3849932407" sldId="1766"/>
            <ac:picMk id="16" creationId="{129E32BA-2A38-45E4-8D57-4E76ECA12579}"/>
          </ac:picMkLst>
        </pc:picChg>
      </pc:sldChg>
      <pc:sldChg chg="addSp delSp modSp add del mod modShow addCm delCm modNotesTx">
        <pc:chgData name="Kory Thacher (APPS / POWERSHELL)" userId="995eb0f2-f21c-467c-a947-4f8fc26d0f2e" providerId="ADAL" clId="{2521250D-C9F9-4A75-B280-9040EE825173}" dt="2021-09-17T17:33:56.211" v="2097" actId="47"/>
        <pc:sldMkLst>
          <pc:docMk/>
          <pc:sldMk cId="3747253409" sldId="1767"/>
        </pc:sldMkLst>
        <pc:graphicFrameChg chg="mod modGraphic">
          <ac:chgData name="Kory Thacher (APPS / POWERSHELL)" userId="995eb0f2-f21c-467c-a947-4f8fc26d0f2e" providerId="ADAL" clId="{2521250D-C9F9-4A75-B280-9040EE825173}" dt="2021-09-13T20:21:35.843" v="1708"/>
          <ac:graphicFrameMkLst>
            <pc:docMk/>
            <pc:sldMk cId="3747253409" sldId="1767"/>
            <ac:graphicFrameMk id="2" creationId="{00DFD454-F652-4BA4-B0DA-571743499239}"/>
          </ac:graphicFrameMkLst>
        </pc:graphicFrameChg>
        <pc:picChg chg="add del mod">
          <ac:chgData name="Kory Thacher (APPS / POWERSHELL)" userId="995eb0f2-f21c-467c-a947-4f8fc26d0f2e" providerId="ADAL" clId="{2521250D-C9F9-4A75-B280-9040EE825173}" dt="2021-09-13T20:00:24.781" v="1423" actId="478"/>
          <ac:picMkLst>
            <pc:docMk/>
            <pc:sldMk cId="3747253409" sldId="1767"/>
            <ac:picMk id="7" creationId="{9AFC92D1-F646-4C01-826E-2670B4E351E3}"/>
          </ac:picMkLst>
        </pc:picChg>
        <pc:picChg chg="mod">
          <ac:chgData name="Kory Thacher (APPS / POWERSHELL)" userId="995eb0f2-f21c-467c-a947-4f8fc26d0f2e" providerId="ADAL" clId="{2521250D-C9F9-4A75-B280-9040EE825173}" dt="2021-09-13T18:54:20.740" v="808" actId="1076"/>
          <ac:picMkLst>
            <pc:docMk/>
            <pc:sldMk cId="3747253409" sldId="1767"/>
            <ac:picMk id="9" creationId="{14B887AC-C67F-4338-9A62-13069BBBCF68}"/>
          </ac:picMkLst>
        </pc:picChg>
        <pc:picChg chg="add del mod">
          <ac:chgData name="Kory Thacher (APPS / POWERSHELL)" userId="995eb0f2-f21c-467c-a947-4f8fc26d0f2e" providerId="ADAL" clId="{2521250D-C9F9-4A75-B280-9040EE825173}" dt="2021-09-13T20:00:24.781" v="1423" actId="478"/>
          <ac:picMkLst>
            <pc:docMk/>
            <pc:sldMk cId="3747253409" sldId="1767"/>
            <ac:picMk id="11" creationId="{EA2DE1CD-E5DC-450A-BF57-9F368467B075}"/>
          </ac:picMkLst>
        </pc:picChg>
        <pc:picChg chg="add del mod">
          <ac:chgData name="Kory Thacher (APPS / POWERSHELL)" userId="995eb0f2-f21c-467c-a947-4f8fc26d0f2e" providerId="ADAL" clId="{2521250D-C9F9-4A75-B280-9040EE825173}" dt="2021-09-13T20:00:24.781" v="1423" actId="478"/>
          <ac:picMkLst>
            <pc:docMk/>
            <pc:sldMk cId="3747253409" sldId="1767"/>
            <ac:picMk id="12" creationId="{CE6796FE-FB17-4D3F-B061-2FF621553BF2}"/>
          </ac:picMkLst>
        </pc:picChg>
        <pc:picChg chg="mod">
          <ac:chgData name="Kory Thacher (APPS / POWERSHELL)" userId="995eb0f2-f21c-467c-a947-4f8fc26d0f2e" providerId="ADAL" clId="{2521250D-C9F9-4A75-B280-9040EE825173}" dt="2021-09-13T18:54:23.368" v="809" actId="1076"/>
          <ac:picMkLst>
            <pc:docMk/>
            <pc:sldMk cId="3747253409" sldId="1767"/>
            <ac:picMk id="15" creationId="{B54C99B4-7F3D-48B4-A5F5-6FED5DA02F32}"/>
          </ac:picMkLst>
        </pc:picChg>
        <pc:picChg chg="mod">
          <ac:chgData name="Kory Thacher (APPS / POWERSHELL)" userId="995eb0f2-f21c-467c-a947-4f8fc26d0f2e" providerId="ADAL" clId="{2521250D-C9F9-4A75-B280-9040EE825173}" dt="2021-09-13T18:54:25.788" v="810" actId="1076"/>
          <ac:picMkLst>
            <pc:docMk/>
            <pc:sldMk cId="3747253409" sldId="1767"/>
            <ac:picMk id="16" creationId="{129E32BA-2A38-45E4-8D57-4E76ECA12579}"/>
          </ac:picMkLst>
        </pc:picChg>
      </pc:sldChg>
      <pc:sldChg chg="modSp add del mod modNotesTx">
        <pc:chgData name="Kory Thacher (APPS / POWERSHELL)" userId="995eb0f2-f21c-467c-a947-4f8fc26d0f2e" providerId="ADAL" clId="{2521250D-C9F9-4A75-B280-9040EE825173}" dt="2021-09-13T19:49:18.471" v="1335" actId="47"/>
        <pc:sldMkLst>
          <pc:docMk/>
          <pc:sldMk cId="2885271122" sldId="1768"/>
        </pc:sldMkLst>
        <pc:graphicFrameChg chg="mod modGraphic">
          <ac:chgData name="Kory Thacher (APPS / POWERSHELL)" userId="995eb0f2-f21c-467c-a947-4f8fc26d0f2e" providerId="ADAL" clId="{2521250D-C9F9-4A75-B280-9040EE825173}" dt="2021-09-13T18:59:25.176" v="853" actId="14734"/>
          <ac:graphicFrameMkLst>
            <pc:docMk/>
            <pc:sldMk cId="2885271122" sldId="1768"/>
            <ac:graphicFrameMk id="2" creationId="{00DFD454-F652-4BA4-B0DA-571743499239}"/>
          </ac:graphicFrameMkLst>
        </pc:graphicFrameChg>
        <pc:picChg chg="mod">
          <ac:chgData name="Kory Thacher (APPS / POWERSHELL)" userId="995eb0f2-f21c-467c-a947-4f8fc26d0f2e" providerId="ADAL" clId="{2521250D-C9F9-4A75-B280-9040EE825173}" dt="2021-09-13T18:59:49.345" v="860" actId="1076"/>
          <ac:picMkLst>
            <pc:docMk/>
            <pc:sldMk cId="2885271122" sldId="1768"/>
            <ac:picMk id="7" creationId="{9AFC92D1-F646-4C01-826E-2670B4E351E3}"/>
          </ac:picMkLst>
        </pc:picChg>
        <pc:picChg chg="mod">
          <ac:chgData name="Kory Thacher (APPS / POWERSHELL)" userId="995eb0f2-f21c-467c-a947-4f8fc26d0f2e" providerId="ADAL" clId="{2521250D-C9F9-4A75-B280-9040EE825173}" dt="2021-09-13T18:59:37.070" v="856" actId="1076"/>
          <ac:picMkLst>
            <pc:docMk/>
            <pc:sldMk cId="2885271122" sldId="1768"/>
            <ac:picMk id="9" creationId="{14B887AC-C67F-4338-9A62-13069BBBCF68}"/>
          </ac:picMkLst>
        </pc:picChg>
        <pc:picChg chg="mod">
          <ac:chgData name="Kory Thacher (APPS / POWERSHELL)" userId="995eb0f2-f21c-467c-a947-4f8fc26d0f2e" providerId="ADAL" clId="{2521250D-C9F9-4A75-B280-9040EE825173}" dt="2021-09-13T18:59:45.037" v="858" actId="1076"/>
          <ac:picMkLst>
            <pc:docMk/>
            <pc:sldMk cId="2885271122" sldId="1768"/>
            <ac:picMk id="11" creationId="{EA2DE1CD-E5DC-450A-BF57-9F368467B075}"/>
          </ac:picMkLst>
        </pc:picChg>
        <pc:picChg chg="mod">
          <ac:chgData name="Kory Thacher (APPS / POWERSHELL)" userId="995eb0f2-f21c-467c-a947-4f8fc26d0f2e" providerId="ADAL" clId="{2521250D-C9F9-4A75-B280-9040EE825173}" dt="2021-09-13T18:59:41.181" v="857" actId="1076"/>
          <ac:picMkLst>
            <pc:docMk/>
            <pc:sldMk cId="2885271122" sldId="1768"/>
            <ac:picMk id="12" creationId="{CE6796FE-FB17-4D3F-B061-2FF621553BF2}"/>
          </ac:picMkLst>
        </pc:picChg>
        <pc:picChg chg="mod">
          <ac:chgData name="Kory Thacher (APPS / POWERSHELL)" userId="995eb0f2-f21c-467c-a947-4f8fc26d0f2e" providerId="ADAL" clId="{2521250D-C9F9-4A75-B280-9040EE825173}" dt="2021-09-13T18:59:34.239" v="855" actId="1076"/>
          <ac:picMkLst>
            <pc:docMk/>
            <pc:sldMk cId="2885271122" sldId="1768"/>
            <ac:picMk id="15" creationId="{B54C99B4-7F3D-48B4-A5F5-6FED5DA02F32}"/>
          </ac:picMkLst>
        </pc:picChg>
        <pc:picChg chg="mod">
          <ac:chgData name="Kory Thacher (APPS / POWERSHELL)" userId="995eb0f2-f21c-467c-a947-4f8fc26d0f2e" providerId="ADAL" clId="{2521250D-C9F9-4A75-B280-9040EE825173}" dt="2021-09-13T18:59:31.757" v="854" actId="1076"/>
          <ac:picMkLst>
            <pc:docMk/>
            <pc:sldMk cId="2885271122" sldId="1768"/>
            <ac:picMk id="16" creationId="{129E32BA-2A38-45E4-8D57-4E76ECA12579}"/>
          </ac:picMkLst>
        </pc:picChg>
      </pc:sldChg>
      <pc:sldChg chg="modSp add del mod ord addCm">
        <pc:chgData name="Kory Thacher (APPS / POWERSHELL)" userId="995eb0f2-f21c-467c-a947-4f8fc26d0f2e" providerId="ADAL" clId="{2521250D-C9F9-4A75-B280-9040EE825173}" dt="2021-10-20T17:29:06.869" v="4275" actId="47"/>
        <pc:sldMkLst>
          <pc:docMk/>
          <pc:sldMk cId="2378622006" sldId="1769"/>
        </pc:sldMkLst>
        <pc:graphicFrameChg chg="mod modGraphic">
          <ac:chgData name="Kory Thacher (APPS / POWERSHELL)" userId="995eb0f2-f21c-467c-a947-4f8fc26d0f2e" providerId="ADAL" clId="{2521250D-C9F9-4A75-B280-9040EE825173}" dt="2021-09-13T19:24:26.772" v="1112" actId="113"/>
          <ac:graphicFrameMkLst>
            <pc:docMk/>
            <pc:sldMk cId="2378622006" sldId="1769"/>
            <ac:graphicFrameMk id="5" creationId="{00000000-0000-0000-0000-000000000000}"/>
          </ac:graphicFrameMkLst>
        </pc:graphicFrameChg>
      </pc:sldChg>
      <pc:sldChg chg="modSp add del mod">
        <pc:chgData name="Kory Thacher (APPS / POWERSHELL)" userId="995eb0f2-f21c-467c-a947-4f8fc26d0f2e" providerId="ADAL" clId="{2521250D-C9F9-4A75-B280-9040EE825173}" dt="2021-09-13T19:10:16.851" v="878" actId="47"/>
        <pc:sldMkLst>
          <pc:docMk/>
          <pc:sldMk cId="2482718748" sldId="1769"/>
        </pc:sldMkLst>
        <pc:graphicFrameChg chg="mod modGraphic">
          <ac:chgData name="Kory Thacher (APPS / POWERSHELL)" userId="995eb0f2-f21c-467c-a947-4f8fc26d0f2e" providerId="ADAL" clId="{2521250D-C9F9-4A75-B280-9040EE825173}" dt="2021-09-13T19:09:38.772" v="877" actId="207"/>
          <ac:graphicFrameMkLst>
            <pc:docMk/>
            <pc:sldMk cId="2482718748" sldId="1769"/>
            <ac:graphicFrameMk id="5" creationId="{00000000-0000-0000-0000-000000000000}"/>
          </ac:graphicFrameMkLst>
        </pc:graphicFrameChg>
      </pc:sldChg>
      <pc:sldChg chg="modSp add mod ord modShow addCm">
        <pc:chgData name="Kory Thacher (APPS / POWERSHELL)" userId="995eb0f2-f21c-467c-a947-4f8fc26d0f2e" providerId="ADAL" clId="{2521250D-C9F9-4A75-B280-9040EE825173}" dt="2021-09-13T19:36:16.921" v="1147"/>
        <pc:sldMkLst>
          <pc:docMk/>
          <pc:sldMk cId="3836636057" sldId="1770"/>
        </pc:sldMkLst>
        <pc:graphicFrameChg chg="mod">
          <ac:chgData name="Kory Thacher (APPS / POWERSHELL)" userId="995eb0f2-f21c-467c-a947-4f8fc26d0f2e" providerId="ADAL" clId="{2521250D-C9F9-4A75-B280-9040EE825173}" dt="2021-09-13T19:25:41.912" v="1113" actId="113"/>
          <ac:graphicFrameMkLst>
            <pc:docMk/>
            <pc:sldMk cId="3836636057" sldId="1770"/>
            <ac:graphicFrameMk id="5" creationId="{00000000-0000-0000-0000-000000000000}"/>
          </ac:graphicFrameMkLst>
        </pc:graphicFrameChg>
      </pc:sldChg>
      <pc:sldChg chg="modSp add del">
        <pc:chgData name="Kory Thacher (APPS / POWERSHELL)" userId="995eb0f2-f21c-467c-a947-4f8fc26d0f2e" providerId="ADAL" clId="{2521250D-C9F9-4A75-B280-9040EE825173}" dt="2021-09-13T19:34:50.407" v="1139" actId="47"/>
        <pc:sldMkLst>
          <pc:docMk/>
          <pc:sldMk cId="160684071" sldId="1771"/>
        </pc:sldMkLst>
        <pc:graphicFrameChg chg="mod">
          <ac:chgData name="Kory Thacher (APPS / POWERSHELL)" userId="995eb0f2-f21c-467c-a947-4f8fc26d0f2e" providerId="ADAL" clId="{2521250D-C9F9-4A75-B280-9040EE825173}" dt="2021-09-13T19:17:24.154" v="959" actId="17032"/>
          <ac:graphicFrameMkLst>
            <pc:docMk/>
            <pc:sldMk cId="160684071" sldId="1771"/>
            <ac:graphicFrameMk id="5" creationId="{00000000-0000-0000-0000-000000000000}"/>
          </ac:graphicFrameMkLst>
        </pc:graphicFrameChg>
      </pc:sldChg>
      <pc:sldChg chg="modSp del mod modNotesTx">
        <pc:chgData name="Kory Thacher (APPS / POWERSHELL)" userId="995eb0f2-f21c-467c-a947-4f8fc26d0f2e" providerId="ADAL" clId="{2521250D-C9F9-4A75-B280-9040EE825173}" dt="2021-09-13T20:01:43.411" v="1442" actId="47"/>
        <pc:sldMkLst>
          <pc:docMk/>
          <pc:sldMk cId="2114722045" sldId="1771"/>
        </pc:sldMkLst>
        <pc:graphicFrameChg chg="modGraphic">
          <ac:chgData name="Kory Thacher (APPS / POWERSHELL)" userId="995eb0f2-f21c-467c-a947-4f8fc26d0f2e" providerId="ADAL" clId="{2521250D-C9F9-4A75-B280-9040EE825173}" dt="2021-09-13T19:41:53.837" v="1156" actId="14734"/>
          <ac:graphicFrameMkLst>
            <pc:docMk/>
            <pc:sldMk cId="2114722045" sldId="1771"/>
            <ac:graphicFrameMk id="2" creationId="{00DFD454-F652-4BA4-B0DA-571743499239}"/>
          </ac:graphicFrameMkLst>
        </pc:graphicFrameChg>
        <pc:picChg chg="mod">
          <ac:chgData name="Kory Thacher (APPS / POWERSHELL)" userId="995eb0f2-f21c-467c-a947-4f8fc26d0f2e" providerId="ADAL" clId="{2521250D-C9F9-4A75-B280-9040EE825173}" dt="2021-09-13T19:41:12.960" v="1153" actId="1076"/>
          <ac:picMkLst>
            <pc:docMk/>
            <pc:sldMk cId="2114722045" sldId="1771"/>
            <ac:picMk id="5" creationId="{4CDFBB15-B0B1-4C85-9D97-3D646E8CC979}"/>
          </ac:picMkLst>
        </pc:picChg>
        <pc:picChg chg="mod">
          <ac:chgData name="Kory Thacher (APPS / POWERSHELL)" userId="995eb0f2-f21c-467c-a947-4f8fc26d0f2e" providerId="ADAL" clId="{2521250D-C9F9-4A75-B280-9040EE825173}" dt="2021-09-13T19:41:10.582" v="1152" actId="1076"/>
          <ac:picMkLst>
            <pc:docMk/>
            <pc:sldMk cId="2114722045" sldId="1771"/>
            <ac:picMk id="6" creationId="{7F5D62CE-1C6B-4091-895B-854897781263}"/>
          </ac:picMkLst>
        </pc:picChg>
        <pc:picChg chg="mod">
          <ac:chgData name="Kory Thacher (APPS / POWERSHELL)" userId="995eb0f2-f21c-467c-a947-4f8fc26d0f2e" providerId="ADAL" clId="{2521250D-C9F9-4A75-B280-9040EE825173}" dt="2021-09-13T19:41:08.520" v="1151" actId="1076"/>
          <ac:picMkLst>
            <pc:docMk/>
            <pc:sldMk cId="2114722045" sldId="1771"/>
            <ac:picMk id="7" creationId="{1A2C503A-CFC3-4599-A045-EEA5C955BDCC}"/>
          </ac:picMkLst>
        </pc:picChg>
      </pc:sldChg>
      <pc:sldChg chg="modSp add del mod">
        <pc:chgData name="Kory Thacher (APPS / POWERSHELL)" userId="995eb0f2-f21c-467c-a947-4f8fc26d0f2e" providerId="ADAL" clId="{2521250D-C9F9-4A75-B280-9040EE825173}" dt="2021-09-13T19:49:18.471" v="1335" actId="47"/>
        <pc:sldMkLst>
          <pc:docMk/>
          <pc:sldMk cId="692852088" sldId="1772"/>
        </pc:sldMkLst>
        <pc:graphicFrameChg chg="modGraphic">
          <ac:chgData name="Kory Thacher (APPS / POWERSHELL)" userId="995eb0f2-f21c-467c-a947-4f8fc26d0f2e" providerId="ADAL" clId="{2521250D-C9F9-4A75-B280-9040EE825173}" dt="2021-09-13T19:47:49.224" v="1328" actId="14734"/>
          <ac:graphicFrameMkLst>
            <pc:docMk/>
            <pc:sldMk cId="692852088" sldId="1772"/>
            <ac:graphicFrameMk id="2" creationId="{00DFD454-F652-4BA4-B0DA-571743499239}"/>
          </ac:graphicFrameMkLst>
        </pc:graphicFrameChg>
      </pc:sldChg>
      <pc:sldChg chg="modSp add del">
        <pc:chgData name="Kory Thacher (APPS / POWERSHELL)" userId="995eb0f2-f21c-467c-a947-4f8fc26d0f2e" providerId="ADAL" clId="{2521250D-C9F9-4A75-B280-9040EE825173}" dt="2021-09-13T19:26:20.030" v="1115" actId="47"/>
        <pc:sldMkLst>
          <pc:docMk/>
          <pc:sldMk cId="3868918267" sldId="1772"/>
        </pc:sldMkLst>
        <pc:graphicFrameChg chg="mod">
          <ac:chgData name="Kory Thacher (APPS / POWERSHELL)" userId="995eb0f2-f21c-467c-a947-4f8fc26d0f2e" providerId="ADAL" clId="{2521250D-C9F9-4A75-B280-9040EE825173}" dt="2021-09-13T19:25:47.670" v="1114" actId="113"/>
          <ac:graphicFrameMkLst>
            <pc:docMk/>
            <pc:sldMk cId="3868918267" sldId="1772"/>
            <ac:graphicFrameMk id="5" creationId="{00000000-0000-0000-0000-000000000000}"/>
          </ac:graphicFrameMkLst>
        </pc:graphicFrameChg>
      </pc:sldChg>
      <pc:sldChg chg="delSp add del mod">
        <pc:chgData name="Kory Thacher (APPS / POWERSHELL)" userId="995eb0f2-f21c-467c-a947-4f8fc26d0f2e" providerId="ADAL" clId="{2521250D-C9F9-4A75-B280-9040EE825173}" dt="2021-09-13T19:49:18.471" v="1335" actId="47"/>
        <pc:sldMkLst>
          <pc:docMk/>
          <pc:sldMk cId="823747078" sldId="1773"/>
        </pc:sldMkLst>
        <pc:picChg chg="del">
          <ac:chgData name="Kory Thacher (APPS / POWERSHELL)" userId="995eb0f2-f21c-467c-a947-4f8fc26d0f2e" providerId="ADAL" clId="{2521250D-C9F9-4A75-B280-9040EE825173}" dt="2021-09-13T19:48:25.468" v="1330" actId="478"/>
          <ac:picMkLst>
            <pc:docMk/>
            <pc:sldMk cId="823747078" sldId="1773"/>
            <ac:picMk id="9" creationId="{14B887AC-C67F-4338-9A62-13069BBBCF68}"/>
          </ac:picMkLst>
        </pc:picChg>
        <pc:picChg chg="del">
          <ac:chgData name="Kory Thacher (APPS / POWERSHELL)" userId="995eb0f2-f21c-467c-a947-4f8fc26d0f2e" providerId="ADAL" clId="{2521250D-C9F9-4A75-B280-9040EE825173}" dt="2021-09-13T19:48:25.468" v="1330" actId="478"/>
          <ac:picMkLst>
            <pc:docMk/>
            <pc:sldMk cId="823747078" sldId="1773"/>
            <ac:picMk id="15" creationId="{B54C99B4-7F3D-48B4-A5F5-6FED5DA02F32}"/>
          </ac:picMkLst>
        </pc:picChg>
        <pc:picChg chg="del">
          <ac:chgData name="Kory Thacher (APPS / POWERSHELL)" userId="995eb0f2-f21c-467c-a947-4f8fc26d0f2e" providerId="ADAL" clId="{2521250D-C9F9-4A75-B280-9040EE825173}" dt="2021-09-13T19:48:25.468" v="1330" actId="478"/>
          <ac:picMkLst>
            <pc:docMk/>
            <pc:sldMk cId="823747078" sldId="1773"/>
            <ac:picMk id="16" creationId="{129E32BA-2A38-45E4-8D57-4E76ECA12579}"/>
          </ac:picMkLst>
        </pc:picChg>
      </pc:sldChg>
      <pc:sldChg chg="modSp add del mod modAnim">
        <pc:chgData name="Kory Thacher (APPS / POWERSHELL)" userId="995eb0f2-f21c-467c-a947-4f8fc26d0f2e" providerId="ADAL" clId="{2521250D-C9F9-4A75-B280-9040EE825173}" dt="2021-09-13T19:34:28.992" v="1138" actId="47"/>
        <pc:sldMkLst>
          <pc:docMk/>
          <pc:sldMk cId="2673277952" sldId="1773"/>
        </pc:sldMkLst>
        <pc:graphicFrameChg chg="mod modGraphic">
          <ac:chgData name="Kory Thacher (APPS / POWERSHELL)" userId="995eb0f2-f21c-467c-a947-4f8fc26d0f2e" providerId="ADAL" clId="{2521250D-C9F9-4A75-B280-9040EE825173}" dt="2021-09-13T19:34:11.926" v="1133" actId="20577"/>
          <ac:graphicFrameMkLst>
            <pc:docMk/>
            <pc:sldMk cId="2673277952" sldId="1773"/>
            <ac:graphicFrameMk id="5" creationId="{00000000-0000-0000-0000-000000000000}"/>
          </ac:graphicFrameMkLst>
        </pc:graphicFrameChg>
      </pc:sldChg>
      <pc:sldChg chg="addSp delSp modSp add mod ord modShow addCm delCm">
        <pc:chgData name="Kory Thacher (APPS / POWERSHELL)" userId="995eb0f2-f21c-467c-a947-4f8fc26d0f2e" providerId="ADAL" clId="{2521250D-C9F9-4A75-B280-9040EE825173}" dt="2021-09-13T20:26:32.503" v="1721" actId="729"/>
        <pc:sldMkLst>
          <pc:docMk/>
          <pc:sldMk cId="680152844" sldId="1774"/>
        </pc:sldMkLst>
        <pc:graphicFrameChg chg="mod modGraphic">
          <ac:chgData name="Kory Thacher (APPS / POWERSHELL)" userId="995eb0f2-f21c-467c-a947-4f8fc26d0f2e" providerId="ADAL" clId="{2521250D-C9F9-4A75-B280-9040EE825173}" dt="2021-09-13T20:21:46.022" v="1711" actId="20577"/>
          <ac:graphicFrameMkLst>
            <pc:docMk/>
            <pc:sldMk cId="680152844" sldId="1774"/>
            <ac:graphicFrameMk id="2" creationId="{00DFD454-F652-4BA4-B0DA-571743499239}"/>
          </ac:graphicFrameMkLst>
        </pc:graphicFrameChg>
        <pc:graphicFrameChg chg="add del mod modGraphic">
          <ac:chgData name="Kory Thacher (APPS / POWERSHELL)" userId="995eb0f2-f21c-467c-a947-4f8fc26d0f2e" providerId="ADAL" clId="{2521250D-C9F9-4A75-B280-9040EE825173}" dt="2021-09-13T20:06:18.839" v="1494" actId="21"/>
          <ac:graphicFrameMkLst>
            <pc:docMk/>
            <pc:sldMk cId="680152844" sldId="1774"/>
            <ac:graphicFrameMk id="10" creationId="{2CAB1A32-1058-4867-90C0-6BBDD0541A87}"/>
          </ac:graphicFrameMkLst>
        </pc:graphicFrameChg>
        <pc:picChg chg="del">
          <ac:chgData name="Kory Thacher (APPS / POWERSHELL)" userId="995eb0f2-f21c-467c-a947-4f8fc26d0f2e" providerId="ADAL" clId="{2521250D-C9F9-4A75-B280-9040EE825173}" dt="2021-09-13T19:48:32.933" v="1334" actId="478"/>
          <ac:picMkLst>
            <pc:docMk/>
            <pc:sldMk cId="680152844" sldId="1774"/>
            <ac:picMk id="7" creationId="{9AFC92D1-F646-4C01-826E-2670B4E351E3}"/>
          </ac:picMkLst>
        </pc:picChg>
        <pc:picChg chg="del">
          <ac:chgData name="Kory Thacher (APPS / POWERSHELL)" userId="995eb0f2-f21c-467c-a947-4f8fc26d0f2e" providerId="ADAL" clId="{2521250D-C9F9-4A75-B280-9040EE825173}" dt="2021-09-13T19:48:32.933" v="1334" actId="478"/>
          <ac:picMkLst>
            <pc:docMk/>
            <pc:sldMk cId="680152844" sldId="1774"/>
            <ac:picMk id="11" creationId="{EA2DE1CD-E5DC-450A-BF57-9F368467B075}"/>
          </ac:picMkLst>
        </pc:picChg>
        <pc:picChg chg="del">
          <ac:chgData name="Kory Thacher (APPS / POWERSHELL)" userId="995eb0f2-f21c-467c-a947-4f8fc26d0f2e" providerId="ADAL" clId="{2521250D-C9F9-4A75-B280-9040EE825173}" dt="2021-09-13T19:48:32.933" v="1334" actId="478"/>
          <ac:picMkLst>
            <pc:docMk/>
            <pc:sldMk cId="680152844" sldId="1774"/>
            <ac:picMk id="12" creationId="{CE6796FE-FB17-4D3F-B061-2FF621553BF2}"/>
          </ac:picMkLst>
        </pc:picChg>
      </pc:sldChg>
      <pc:sldChg chg="modSp add del mod">
        <pc:chgData name="Kory Thacher (APPS / POWERSHELL)" userId="995eb0f2-f21c-467c-a947-4f8fc26d0f2e" providerId="ADAL" clId="{2521250D-C9F9-4A75-B280-9040EE825173}" dt="2021-09-13T19:32:00.120" v="1125" actId="47"/>
        <pc:sldMkLst>
          <pc:docMk/>
          <pc:sldMk cId="1414042992" sldId="1774"/>
        </pc:sldMkLst>
        <pc:graphicFrameChg chg="mod modGraphic">
          <ac:chgData name="Kory Thacher (APPS / POWERSHELL)" userId="995eb0f2-f21c-467c-a947-4f8fc26d0f2e" providerId="ADAL" clId="{2521250D-C9F9-4A75-B280-9040EE825173}" dt="2021-09-13T19:31:55.950" v="1124" actId="207"/>
          <ac:graphicFrameMkLst>
            <pc:docMk/>
            <pc:sldMk cId="1414042992" sldId="1774"/>
            <ac:graphicFrameMk id="5" creationId="{00000000-0000-0000-0000-000000000000}"/>
          </ac:graphicFrameMkLst>
        </pc:graphicFrameChg>
      </pc:sldChg>
      <pc:sldChg chg="modSp add del mod">
        <pc:chgData name="Kory Thacher (APPS / POWERSHELL)" userId="995eb0f2-f21c-467c-a947-4f8fc26d0f2e" providerId="ADAL" clId="{2521250D-C9F9-4A75-B280-9040EE825173}" dt="2021-09-13T20:09:06.058" v="1523" actId="47"/>
        <pc:sldMkLst>
          <pc:docMk/>
          <pc:sldMk cId="2373078274" sldId="1775"/>
        </pc:sldMkLst>
        <pc:graphicFrameChg chg="mod modGraphic">
          <ac:chgData name="Kory Thacher (APPS / POWERSHELL)" userId="995eb0f2-f21c-467c-a947-4f8fc26d0f2e" providerId="ADAL" clId="{2521250D-C9F9-4A75-B280-9040EE825173}" dt="2021-09-13T19:54:41.588" v="1389" actId="6549"/>
          <ac:graphicFrameMkLst>
            <pc:docMk/>
            <pc:sldMk cId="2373078274" sldId="1775"/>
            <ac:graphicFrameMk id="2" creationId="{00DFD454-F652-4BA4-B0DA-571743499239}"/>
          </ac:graphicFrameMkLst>
        </pc:graphicFrameChg>
        <pc:picChg chg="mod">
          <ac:chgData name="Kory Thacher (APPS / POWERSHELL)" userId="995eb0f2-f21c-467c-a947-4f8fc26d0f2e" providerId="ADAL" clId="{2521250D-C9F9-4A75-B280-9040EE825173}" dt="2021-09-13T19:51:01.652" v="1349" actId="1035"/>
          <ac:picMkLst>
            <pc:docMk/>
            <pc:sldMk cId="2373078274" sldId="1775"/>
            <ac:picMk id="9" creationId="{14B887AC-C67F-4338-9A62-13069BBBCF68}"/>
          </ac:picMkLst>
        </pc:picChg>
        <pc:picChg chg="mod">
          <ac:chgData name="Kory Thacher (APPS / POWERSHELL)" userId="995eb0f2-f21c-467c-a947-4f8fc26d0f2e" providerId="ADAL" clId="{2521250D-C9F9-4A75-B280-9040EE825173}" dt="2021-09-13T19:51:01.652" v="1349" actId="1035"/>
          <ac:picMkLst>
            <pc:docMk/>
            <pc:sldMk cId="2373078274" sldId="1775"/>
            <ac:picMk id="15" creationId="{B54C99B4-7F3D-48B4-A5F5-6FED5DA02F32}"/>
          </ac:picMkLst>
        </pc:picChg>
        <pc:picChg chg="mod">
          <ac:chgData name="Kory Thacher (APPS / POWERSHELL)" userId="995eb0f2-f21c-467c-a947-4f8fc26d0f2e" providerId="ADAL" clId="{2521250D-C9F9-4A75-B280-9040EE825173}" dt="2021-09-13T19:51:01.652" v="1349" actId="1035"/>
          <ac:picMkLst>
            <pc:docMk/>
            <pc:sldMk cId="2373078274" sldId="1775"/>
            <ac:picMk id="16" creationId="{129E32BA-2A38-45E4-8D57-4E76ECA12579}"/>
          </ac:picMkLst>
        </pc:picChg>
      </pc:sldChg>
      <pc:sldChg chg="modSp add mod ord modShow addCm delCm">
        <pc:chgData name="Kory Thacher (APPS / POWERSHELL)" userId="995eb0f2-f21c-467c-a947-4f8fc26d0f2e" providerId="ADAL" clId="{2521250D-C9F9-4A75-B280-9040EE825173}" dt="2021-09-17T17:37:58.551" v="2128"/>
        <pc:sldMkLst>
          <pc:docMk/>
          <pc:sldMk cId="729908435" sldId="1777"/>
        </pc:sldMkLst>
        <pc:graphicFrameChg chg="mod modGraphic">
          <ac:chgData name="Kory Thacher (APPS / POWERSHELL)" userId="995eb0f2-f21c-467c-a947-4f8fc26d0f2e" providerId="ADAL" clId="{2521250D-C9F9-4A75-B280-9040EE825173}" dt="2021-09-13T20:21:25.121" v="1704"/>
          <ac:graphicFrameMkLst>
            <pc:docMk/>
            <pc:sldMk cId="729908435" sldId="1777"/>
            <ac:graphicFrameMk id="2" creationId="{00DFD454-F652-4BA4-B0DA-571743499239}"/>
          </ac:graphicFrameMkLst>
        </pc:graphicFrameChg>
      </pc:sldChg>
      <pc:sldChg chg="addSp delSp modSp add del mod ord addCm delCm">
        <pc:chgData name="Kory Thacher (APPS / POWERSHELL)" userId="995eb0f2-f21c-467c-a947-4f8fc26d0f2e" providerId="ADAL" clId="{2521250D-C9F9-4A75-B280-9040EE825173}" dt="2021-09-17T17:37:51.170" v="2125" actId="47"/>
        <pc:sldMkLst>
          <pc:docMk/>
          <pc:sldMk cId="950858907" sldId="1778"/>
        </pc:sldMkLst>
        <pc:graphicFrameChg chg="mod modGraphic">
          <ac:chgData name="Kory Thacher (APPS / POWERSHELL)" userId="995eb0f2-f21c-467c-a947-4f8fc26d0f2e" providerId="ADAL" clId="{2521250D-C9F9-4A75-B280-9040EE825173}" dt="2021-09-13T20:21:17.618" v="1700"/>
          <ac:graphicFrameMkLst>
            <pc:docMk/>
            <pc:sldMk cId="950858907" sldId="1778"/>
            <ac:graphicFrameMk id="2" creationId="{00DFD454-F652-4BA4-B0DA-571743499239}"/>
          </ac:graphicFrameMkLst>
        </pc:graphicFrameChg>
        <pc:graphicFrameChg chg="add del mod modGraphic">
          <ac:chgData name="Kory Thacher (APPS / POWERSHELL)" userId="995eb0f2-f21c-467c-a947-4f8fc26d0f2e" providerId="ADAL" clId="{2521250D-C9F9-4A75-B280-9040EE825173}" dt="2021-09-13T20:08:19.571" v="1512" actId="478"/>
          <ac:graphicFrameMkLst>
            <pc:docMk/>
            <pc:sldMk cId="950858907" sldId="1778"/>
            <ac:graphicFrameMk id="7" creationId="{7A734406-B36D-400A-959E-A18F7ED1073D}"/>
          </ac:graphicFrameMkLst>
        </pc:graphicFrameChg>
        <pc:picChg chg="mod">
          <ac:chgData name="Kory Thacher (APPS / POWERSHELL)" userId="995eb0f2-f21c-467c-a947-4f8fc26d0f2e" providerId="ADAL" clId="{2521250D-C9F9-4A75-B280-9040EE825173}" dt="2021-09-13T20:04:38.282" v="1477" actId="1038"/>
          <ac:picMkLst>
            <pc:docMk/>
            <pc:sldMk cId="950858907" sldId="1778"/>
            <ac:picMk id="9" creationId="{14B887AC-C67F-4338-9A62-13069BBBCF68}"/>
          </ac:picMkLst>
        </pc:picChg>
        <pc:picChg chg="mod">
          <ac:chgData name="Kory Thacher (APPS / POWERSHELL)" userId="995eb0f2-f21c-467c-a947-4f8fc26d0f2e" providerId="ADAL" clId="{2521250D-C9F9-4A75-B280-9040EE825173}" dt="2021-09-13T20:04:38.282" v="1477" actId="1038"/>
          <ac:picMkLst>
            <pc:docMk/>
            <pc:sldMk cId="950858907" sldId="1778"/>
            <ac:picMk id="15" creationId="{B54C99B4-7F3D-48B4-A5F5-6FED5DA02F32}"/>
          </ac:picMkLst>
        </pc:picChg>
        <pc:picChg chg="mod">
          <ac:chgData name="Kory Thacher (APPS / POWERSHELL)" userId="995eb0f2-f21c-467c-a947-4f8fc26d0f2e" providerId="ADAL" clId="{2521250D-C9F9-4A75-B280-9040EE825173}" dt="2021-09-13T20:04:38.282" v="1477" actId="1038"/>
          <ac:picMkLst>
            <pc:docMk/>
            <pc:sldMk cId="950858907" sldId="1778"/>
            <ac:picMk id="16" creationId="{129E32BA-2A38-45E4-8D57-4E76ECA12579}"/>
          </ac:picMkLst>
        </pc:picChg>
      </pc:sldChg>
      <pc:sldChg chg="modSp add del mod ord modShow addCm delCm modCm modNotesTx">
        <pc:chgData name="Kory Thacher (APPS / POWERSHELL)" userId="995eb0f2-f21c-467c-a947-4f8fc26d0f2e" providerId="ADAL" clId="{2521250D-C9F9-4A75-B280-9040EE825173}" dt="2021-09-17T17:36:22.482" v="2110" actId="47"/>
        <pc:sldMkLst>
          <pc:docMk/>
          <pc:sldMk cId="3748897980" sldId="1779"/>
        </pc:sldMkLst>
        <pc:graphicFrameChg chg="mod modGraphic">
          <ac:chgData name="Kory Thacher (APPS / POWERSHELL)" userId="995eb0f2-f21c-467c-a947-4f8fc26d0f2e" providerId="ADAL" clId="{2521250D-C9F9-4A75-B280-9040EE825173}" dt="2021-09-13T20:13:23.824" v="1591" actId="20577"/>
          <ac:graphicFrameMkLst>
            <pc:docMk/>
            <pc:sldMk cId="3748897980" sldId="1779"/>
            <ac:graphicFrameMk id="2" creationId="{00DFD454-F652-4BA4-B0DA-571743499239}"/>
          </ac:graphicFrameMkLst>
        </pc:graphicFrameChg>
        <pc:picChg chg="mod">
          <ac:chgData name="Kory Thacher (APPS / POWERSHELL)" userId="995eb0f2-f21c-467c-a947-4f8fc26d0f2e" providerId="ADAL" clId="{2521250D-C9F9-4A75-B280-9040EE825173}" dt="2021-09-13T20:17:01.187" v="1670" actId="1037"/>
          <ac:picMkLst>
            <pc:docMk/>
            <pc:sldMk cId="3748897980" sldId="1779"/>
            <ac:picMk id="9" creationId="{14B887AC-C67F-4338-9A62-13069BBBCF68}"/>
          </ac:picMkLst>
        </pc:picChg>
        <pc:picChg chg="mod">
          <ac:chgData name="Kory Thacher (APPS / POWERSHELL)" userId="995eb0f2-f21c-467c-a947-4f8fc26d0f2e" providerId="ADAL" clId="{2521250D-C9F9-4A75-B280-9040EE825173}" dt="2021-09-13T20:17:01.187" v="1670" actId="1037"/>
          <ac:picMkLst>
            <pc:docMk/>
            <pc:sldMk cId="3748897980" sldId="1779"/>
            <ac:picMk id="15" creationId="{B54C99B4-7F3D-48B4-A5F5-6FED5DA02F32}"/>
          </ac:picMkLst>
        </pc:picChg>
        <pc:picChg chg="mod">
          <ac:chgData name="Kory Thacher (APPS / POWERSHELL)" userId="995eb0f2-f21c-467c-a947-4f8fc26d0f2e" providerId="ADAL" clId="{2521250D-C9F9-4A75-B280-9040EE825173}" dt="2021-09-13T20:17:04.352" v="1671" actId="1035"/>
          <ac:picMkLst>
            <pc:docMk/>
            <pc:sldMk cId="3748897980" sldId="1779"/>
            <ac:picMk id="16" creationId="{129E32BA-2A38-45E4-8D57-4E76ECA12579}"/>
          </ac:picMkLst>
        </pc:picChg>
      </pc:sldChg>
      <pc:sldChg chg="modSp add del mod">
        <pc:chgData name="Kory Thacher (APPS / POWERSHELL)" userId="995eb0f2-f21c-467c-a947-4f8fc26d0f2e" providerId="ADAL" clId="{2521250D-C9F9-4A75-B280-9040EE825173}" dt="2021-09-13T20:16:52.477" v="1665" actId="47"/>
        <pc:sldMkLst>
          <pc:docMk/>
          <pc:sldMk cId="292194211" sldId="1780"/>
        </pc:sldMkLst>
        <pc:graphicFrameChg chg="mod modGraphic">
          <ac:chgData name="Kory Thacher (APPS / POWERSHELL)" userId="995eb0f2-f21c-467c-a947-4f8fc26d0f2e" providerId="ADAL" clId="{2521250D-C9F9-4A75-B280-9040EE825173}" dt="2021-09-13T20:16:44.907" v="1664" actId="14734"/>
          <ac:graphicFrameMkLst>
            <pc:docMk/>
            <pc:sldMk cId="292194211" sldId="1780"/>
            <ac:graphicFrameMk id="2" creationId="{00DFD454-F652-4BA4-B0DA-571743499239}"/>
          </ac:graphicFrameMkLst>
        </pc:graphicFrameChg>
        <pc:picChg chg="mod">
          <ac:chgData name="Kory Thacher (APPS / POWERSHELL)" userId="995eb0f2-f21c-467c-a947-4f8fc26d0f2e" providerId="ADAL" clId="{2521250D-C9F9-4A75-B280-9040EE825173}" dt="2021-09-13T20:14:23.498" v="1632" actId="1035"/>
          <ac:picMkLst>
            <pc:docMk/>
            <pc:sldMk cId="292194211" sldId="1780"/>
            <ac:picMk id="9" creationId="{14B887AC-C67F-4338-9A62-13069BBBCF68}"/>
          </ac:picMkLst>
        </pc:picChg>
        <pc:picChg chg="mod">
          <ac:chgData name="Kory Thacher (APPS / POWERSHELL)" userId="995eb0f2-f21c-467c-a947-4f8fc26d0f2e" providerId="ADAL" clId="{2521250D-C9F9-4A75-B280-9040EE825173}" dt="2021-09-13T20:14:23.498" v="1632" actId="1035"/>
          <ac:picMkLst>
            <pc:docMk/>
            <pc:sldMk cId="292194211" sldId="1780"/>
            <ac:picMk id="15" creationId="{B54C99B4-7F3D-48B4-A5F5-6FED5DA02F32}"/>
          </ac:picMkLst>
        </pc:picChg>
        <pc:picChg chg="mod">
          <ac:chgData name="Kory Thacher (APPS / POWERSHELL)" userId="995eb0f2-f21c-467c-a947-4f8fc26d0f2e" providerId="ADAL" clId="{2521250D-C9F9-4A75-B280-9040EE825173}" dt="2021-09-13T20:14:27.015" v="1633" actId="1035"/>
          <ac:picMkLst>
            <pc:docMk/>
            <pc:sldMk cId="292194211" sldId="1780"/>
            <ac:picMk id="16" creationId="{129E32BA-2A38-45E4-8D57-4E76ECA12579}"/>
          </ac:picMkLst>
        </pc:picChg>
      </pc:sldChg>
      <pc:sldChg chg="modSp add del mod modShow addCm modCm">
        <pc:chgData name="Kory Thacher (APPS / POWERSHELL)" userId="995eb0f2-f21c-467c-a947-4f8fc26d0f2e" providerId="ADAL" clId="{2521250D-C9F9-4A75-B280-9040EE825173}" dt="2021-10-01T18:03:35.070" v="4098" actId="47"/>
        <pc:sldMkLst>
          <pc:docMk/>
          <pc:sldMk cId="630554025" sldId="1780"/>
        </pc:sldMkLst>
        <pc:spChg chg="mod">
          <ac:chgData name="Kory Thacher (APPS / POWERSHELL)" userId="995eb0f2-f21c-467c-a947-4f8fc26d0f2e" providerId="ADAL" clId="{2521250D-C9F9-4A75-B280-9040EE825173}" dt="2021-09-17T17:39:53.194" v="2158" actId="20577"/>
          <ac:spMkLst>
            <pc:docMk/>
            <pc:sldMk cId="630554025" sldId="1780"/>
            <ac:spMk id="2" creationId="{00000000-0000-0000-0000-000000000000}"/>
          </ac:spMkLst>
        </pc:spChg>
        <pc:spChg chg="mod">
          <ac:chgData name="Kory Thacher (APPS / POWERSHELL)" userId="995eb0f2-f21c-467c-a947-4f8fc26d0f2e" providerId="ADAL" clId="{2521250D-C9F9-4A75-B280-9040EE825173}" dt="2021-09-13T20:43:49.668" v="1779" actId="20577"/>
          <ac:spMkLst>
            <pc:docMk/>
            <pc:sldMk cId="630554025" sldId="1780"/>
            <ac:spMk id="12" creationId="{787E219C-D0CC-479F-ACFC-845BD7297DC9}"/>
          </ac:spMkLst>
        </pc:spChg>
        <pc:spChg chg="mod">
          <ac:chgData name="Kory Thacher (APPS / POWERSHELL)" userId="995eb0f2-f21c-467c-a947-4f8fc26d0f2e" providerId="ADAL" clId="{2521250D-C9F9-4A75-B280-9040EE825173}" dt="2021-09-17T17:40:23.753" v="2170" actId="20577"/>
          <ac:spMkLst>
            <pc:docMk/>
            <pc:sldMk cId="630554025" sldId="1780"/>
            <ac:spMk id="14" creationId="{C53A5CCE-28DC-4161-833B-A0C97956700C}"/>
          </ac:spMkLst>
        </pc:spChg>
      </pc:sldChg>
      <pc:sldChg chg="modSp add del mod modShow modCm">
        <pc:chgData name="Kory Thacher (APPS / POWERSHELL)" userId="995eb0f2-f21c-467c-a947-4f8fc26d0f2e" providerId="ADAL" clId="{2521250D-C9F9-4A75-B280-9040EE825173}" dt="2021-09-17T17:42:10.883" v="2175" actId="47"/>
        <pc:sldMkLst>
          <pc:docMk/>
          <pc:sldMk cId="539151111" sldId="1781"/>
        </pc:sldMkLst>
        <pc:graphicFrameChg chg="mod">
          <ac:chgData name="Kory Thacher (APPS / POWERSHELL)" userId="995eb0f2-f21c-467c-a947-4f8fc26d0f2e" providerId="ADAL" clId="{2521250D-C9F9-4A75-B280-9040EE825173}" dt="2021-09-13T20:50:28.157" v="1905" actId="113"/>
          <ac:graphicFrameMkLst>
            <pc:docMk/>
            <pc:sldMk cId="539151111" sldId="1781"/>
            <ac:graphicFrameMk id="3" creationId="{D0E0DB5C-7432-4211-B55B-5D6CE03F2884}"/>
          </ac:graphicFrameMkLst>
        </pc:graphicFrameChg>
      </pc:sldChg>
      <pc:sldChg chg="modSp add mod ord modShow addCm modCm">
        <pc:chgData name="Kory Thacher (APPS / POWERSHELL)" userId="995eb0f2-f21c-467c-a947-4f8fc26d0f2e" providerId="ADAL" clId="{2521250D-C9F9-4A75-B280-9040EE825173}" dt="2021-10-20T17:31:20.779" v="4279"/>
        <pc:sldMkLst>
          <pc:docMk/>
          <pc:sldMk cId="941779801" sldId="1782"/>
        </pc:sldMkLst>
        <pc:graphicFrameChg chg="mod">
          <ac:chgData name="Kory Thacher (APPS / POWERSHELL)" userId="995eb0f2-f21c-467c-a947-4f8fc26d0f2e" providerId="ADAL" clId="{2521250D-C9F9-4A75-B280-9040EE825173}" dt="2021-10-01T18:01:46.009" v="4092"/>
          <ac:graphicFrameMkLst>
            <pc:docMk/>
            <pc:sldMk cId="941779801" sldId="1782"/>
            <ac:graphicFrameMk id="3" creationId="{D0E0DB5C-7432-4211-B55B-5D6CE03F2884}"/>
          </ac:graphicFrameMkLst>
        </pc:graphicFrameChg>
      </pc:sldChg>
      <pc:sldChg chg="modSp add del">
        <pc:chgData name="Kory Thacher (APPS / POWERSHELL)" userId="995eb0f2-f21c-467c-a947-4f8fc26d0f2e" providerId="ADAL" clId="{2521250D-C9F9-4A75-B280-9040EE825173}" dt="2021-09-17T17:42:10.883" v="2175" actId="47"/>
        <pc:sldMkLst>
          <pc:docMk/>
          <pc:sldMk cId="1855276408" sldId="1783"/>
        </pc:sldMkLst>
        <pc:graphicFrameChg chg="mod">
          <ac:chgData name="Kory Thacher (APPS / POWERSHELL)" userId="995eb0f2-f21c-467c-a947-4f8fc26d0f2e" providerId="ADAL" clId="{2521250D-C9F9-4A75-B280-9040EE825173}" dt="2021-09-13T20:54:57.617" v="1927"/>
          <ac:graphicFrameMkLst>
            <pc:docMk/>
            <pc:sldMk cId="1855276408" sldId="1783"/>
            <ac:graphicFrameMk id="3" creationId="{D0E0DB5C-7432-4211-B55B-5D6CE03F2884}"/>
          </ac:graphicFrameMkLst>
        </pc:graphicFrameChg>
      </pc:sldChg>
      <pc:sldChg chg="modSp add del addCm">
        <pc:chgData name="Kory Thacher (APPS / POWERSHELL)" userId="995eb0f2-f21c-467c-a947-4f8fc26d0f2e" providerId="ADAL" clId="{2521250D-C9F9-4A75-B280-9040EE825173}" dt="2021-09-17T17:49:15.179" v="2236" actId="47"/>
        <pc:sldMkLst>
          <pc:docMk/>
          <pc:sldMk cId="1896369439" sldId="1784"/>
        </pc:sldMkLst>
        <pc:graphicFrameChg chg="mod">
          <ac:chgData name="Kory Thacher (APPS / POWERSHELL)" userId="995eb0f2-f21c-467c-a947-4f8fc26d0f2e" providerId="ADAL" clId="{2521250D-C9F9-4A75-B280-9040EE825173}" dt="2021-09-13T23:47:23.222" v="1953"/>
          <ac:graphicFrameMkLst>
            <pc:docMk/>
            <pc:sldMk cId="1896369439" sldId="1784"/>
            <ac:graphicFrameMk id="3" creationId="{D0E0DB5C-7432-4211-B55B-5D6CE03F2884}"/>
          </ac:graphicFrameMkLst>
        </pc:graphicFrameChg>
      </pc:sldChg>
      <pc:sldChg chg="modSp add del mod modShow modCm">
        <pc:chgData name="Kory Thacher (APPS / POWERSHELL)" userId="995eb0f2-f21c-467c-a947-4f8fc26d0f2e" providerId="ADAL" clId="{2521250D-C9F9-4A75-B280-9040EE825173}" dt="2021-10-01T18:04:09.503" v="4100" actId="47"/>
        <pc:sldMkLst>
          <pc:docMk/>
          <pc:sldMk cId="4221915482" sldId="1785"/>
        </pc:sldMkLst>
        <pc:graphicFrameChg chg="mod">
          <ac:chgData name="Kory Thacher (APPS / POWERSHELL)" userId="995eb0f2-f21c-467c-a947-4f8fc26d0f2e" providerId="ADAL" clId="{2521250D-C9F9-4A75-B280-9040EE825173}" dt="2021-10-01T17:13:28.177" v="2391" actId="113"/>
          <ac:graphicFrameMkLst>
            <pc:docMk/>
            <pc:sldMk cId="4221915482" sldId="1785"/>
            <ac:graphicFrameMk id="3" creationId="{D0E0DB5C-7432-4211-B55B-5D6CE03F2884}"/>
          </ac:graphicFrameMkLst>
        </pc:graphicFrameChg>
      </pc:sldChg>
      <pc:sldChg chg="modSp add del mod">
        <pc:chgData name="Kory Thacher (APPS / POWERSHELL)" userId="995eb0f2-f21c-467c-a947-4f8fc26d0f2e" providerId="ADAL" clId="{2521250D-C9F9-4A75-B280-9040EE825173}" dt="2021-09-13T23:50:12.951" v="1971" actId="47"/>
        <pc:sldMkLst>
          <pc:docMk/>
          <pc:sldMk cId="3589921458" sldId="1786"/>
        </pc:sldMkLst>
        <pc:graphicFrameChg chg="mod">
          <ac:chgData name="Kory Thacher (APPS / POWERSHELL)" userId="995eb0f2-f21c-467c-a947-4f8fc26d0f2e" providerId="ADAL" clId="{2521250D-C9F9-4A75-B280-9040EE825173}" dt="2021-09-13T23:50:07.405" v="1969" actId="13782"/>
          <ac:graphicFrameMkLst>
            <pc:docMk/>
            <pc:sldMk cId="3589921458" sldId="1786"/>
            <ac:graphicFrameMk id="3" creationId="{D0E0DB5C-7432-4211-B55B-5D6CE03F2884}"/>
          </ac:graphicFrameMkLst>
        </pc:graphicFrameChg>
      </pc:sldChg>
      <pc:sldChg chg="addSp modSp add del mod">
        <pc:chgData name="Kory Thacher (APPS / POWERSHELL)" userId="995eb0f2-f21c-467c-a947-4f8fc26d0f2e" providerId="ADAL" clId="{2521250D-C9F9-4A75-B280-9040EE825173}" dt="2021-09-13T23:55:57.842" v="2003" actId="47"/>
        <pc:sldMkLst>
          <pc:docMk/>
          <pc:sldMk cId="652998244" sldId="1787"/>
        </pc:sldMkLst>
        <pc:spChg chg="add mod">
          <ac:chgData name="Kory Thacher (APPS / POWERSHELL)" userId="995eb0f2-f21c-467c-a947-4f8fc26d0f2e" providerId="ADAL" clId="{2521250D-C9F9-4A75-B280-9040EE825173}" dt="2021-09-13T23:52:15.708" v="1982" actId="6549"/>
          <ac:spMkLst>
            <pc:docMk/>
            <pc:sldMk cId="652998244" sldId="1787"/>
            <ac:spMk id="4" creationId="{DFD1CF80-9BAF-4FBF-A0E3-E13C2FD73DA0}"/>
          </ac:spMkLst>
        </pc:spChg>
        <pc:graphicFrameChg chg="mod">
          <ac:chgData name="Kory Thacher (APPS / POWERSHELL)" userId="995eb0f2-f21c-467c-a947-4f8fc26d0f2e" providerId="ADAL" clId="{2521250D-C9F9-4A75-B280-9040EE825173}" dt="2021-09-13T23:52:02.379" v="1981" actId="255"/>
          <ac:graphicFrameMkLst>
            <pc:docMk/>
            <pc:sldMk cId="652998244" sldId="1787"/>
            <ac:graphicFrameMk id="3" creationId="{D0E0DB5C-7432-4211-B55B-5D6CE03F2884}"/>
          </ac:graphicFrameMkLst>
        </pc:graphicFrameChg>
      </pc:sldChg>
      <pc:sldChg chg="modSp add mod modShow modCm">
        <pc:chgData name="Kory Thacher (APPS / POWERSHELL)" userId="995eb0f2-f21c-467c-a947-4f8fc26d0f2e" providerId="ADAL" clId="{2521250D-C9F9-4A75-B280-9040EE825173}" dt="2021-10-01T18:05:56.537" v="4125" actId="20577"/>
        <pc:sldMkLst>
          <pc:docMk/>
          <pc:sldMk cId="1456104248" sldId="1788"/>
        </pc:sldMkLst>
        <pc:spChg chg="mod">
          <ac:chgData name="Kory Thacher (APPS / POWERSHELL)" userId="995eb0f2-f21c-467c-a947-4f8fc26d0f2e" providerId="ADAL" clId="{2521250D-C9F9-4A75-B280-9040EE825173}" dt="2021-09-13T23:55:16.763" v="2000" actId="1076"/>
          <ac:spMkLst>
            <pc:docMk/>
            <pc:sldMk cId="1456104248" sldId="1788"/>
            <ac:spMk id="2" creationId="{00000000-0000-0000-0000-000000000000}"/>
          </ac:spMkLst>
        </pc:spChg>
        <pc:spChg chg="mod">
          <ac:chgData name="Kory Thacher (APPS / POWERSHELL)" userId="995eb0f2-f21c-467c-a947-4f8fc26d0f2e" providerId="ADAL" clId="{2521250D-C9F9-4A75-B280-9040EE825173}" dt="2021-10-01T18:05:56.537" v="4125" actId="20577"/>
          <ac:spMkLst>
            <pc:docMk/>
            <pc:sldMk cId="1456104248" sldId="1788"/>
            <ac:spMk id="4" creationId="{DFD1CF80-9BAF-4FBF-A0E3-E13C2FD73DA0}"/>
          </ac:spMkLst>
        </pc:spChg>
        <pc:graphicFrameChg chg="mod">
          <ac:chgData name="Kory Thacher (APPS / POWERSHELL)" userId="995eb0f2-f21c-467c-a947-4f8fc26d0f2e" providerId="ADAL" clId="{2521250D-C9F9-4A75-B280-9040EE825173}" dt="2021-10-01T17:13:37.974" v="2392" actId="113"/>
          <ac:graphicFrameMkLst>
            <pc:docMk/>
            <pc:sldMk cId="1456104248" sldId="1788"/>
            <ac:graphicFrameMk id="3" creationId="{D0E0DB5C-7432-4211-B55B-5D6CE03F2884}"/>
          </ac:graphicFrameMkLst>
        </pc:graphicFrameChg>
      </pc:sldChg>
      <pc:sldChg chg="modSp add del mod modAnim modShow">
        <pc:chgData name="Kory Thacher (APPS / POWERSHELL)" userId="995eb0f2-f21c-467c-a947-4f8fc26d0f2e" providerId="ADAL" clId="{2521250D-C9F9-4A75-B280-9040EE825173}" dt="2021-09-14T00:00:25.886" v="2038" actId="47"/>
        <pc:sldMkLst>
          <pc:docMk/>
          <pc:sldMk cId="3213264991" sldId="1789"/>
        </pc:sldMkLst>
        <pc:graphicFrameChg chg="mod modGraphic">
          <ac:chgData name="Kory Thacher (APPS / POWERSHELL)" userId="995eb0f2-f21c-467c-a947-4f8fc26d0f2e" providerId="ADAL" clId="{2521250D-C9F9-4A75-B280-9040EE825173}" dt="2021-09-13T23:59:48.925" v="2030"/>
          <ac:graphicFrameMkLst>
            <pc:docMk/>
            <pc:sldMk cId="3213264991" sldId="1789"/>
            <ac:graphicFrameMk id="5" creationId="{00000000-0000-0000-0000-000000000000}"/>
          </ac:graphicFrameMkLst>
        </pc:graphicFrameChg>
      </pc:sldChg>
      <pc:sldChg chg="modSp add del mod addCm">
        <pc:chgData name="Kory Thacher (APPS / POWERSHELL)" userId="995eb0f2-f21c-467c-a947-4f8fc26d0f2e" providerId="ADAL" clId="{2521250D-C9F9-4A75-B280-9040EE825173}" dt="2021-10-01T18:07:01.007" v="4127" actId="47"/>
        <pc:sldMkLst>
          <pc:docMk/>
          <pc:sldMk cId="1002358728" sldId="1790"/>
        </pc:sldMkLst>
        <pc:graphicFrameChg chg="mod modGraphic">
          <ac:chgData name="Kory Thacher (APPS / POWERSHELL)" userId="995eb0f2-f21c-467c-a947-4f8fc26d0f2e" providerId="ADAL" clId="{2521250D-C9F9-4A75-B280-9040EE825173}" dt="2021-09-14T00:00:29.939" v="2039" actId="113"/>
          <ac:graphicFrameMkLst>
            <pc:docMk/>
            <pc:sldMk cId="1002358728" sldId="1790"/>
            <ac:graphicFrameMk id="5" creationId="{00000000-0000-0000-0000-000000000000}"/>
          </ac:graphicFrameMkLst>
        </pc:graphicFrameChg>
      </pc:sldChg>
      <pc:sldChg chg="modSp add del mod modAnim">
        <pc:chgData name="Kory Thacher (APPS / POWERSHELL)" userId="995eb0f2-f21c-467c-a947-4f8fc26d0f2e" providerId="ADAL" clId="{2521250D-C9F9-4A75-B280-9040EE825173}" dt="2021-09-14T00:01:39.967" v="2044" actId="47"/>
        <pc:sldMkLst>
          <pc:docMk/>
          <pc:sldMk cId="1957100108" sldId="1791"/>
        </pc:sldMkLst>
        <pc:graphicFrameChg chg="mod">
          <ac:chgData name="Kory Thacher (APPS / POWERSHELL)" userId="995eb0f2-f21c-467c-a947-4f8fc26d0f2e" providerId="ADAL" clId="{2521250D-C9F9-4A75-B280-9040EE825173}" dt="2021-09-14T00:01:20.854" v="2043" actId="14100"/>
          <ac:graphicFrameMkLst>
            <pc:docMk/>
            <pc:sldMk cId="1957100108" sldId="1791"/>
            <ac:graphicFrameMk id="5" creationId="{00000000-0000-0000-0000-000000000000}"/>
          </ac:graphicFrameMkLst>
        </pc:graphicFrameChg>
      </pc:sldChg>
      <pc:sldChg chg="modSp add del mod modShow modCm">
        <pc:chgData name="Kory Thacher (APPS / POWERSHELL)" userId="995eb0f2-f21c-467c-a947-4f8fc26d0f2e" providerId="ADAL" clId="{2521250D-C9F9-4A75-B280-9040EE825173}" dt="2021-10-01T18:06:44.193" v="4126" actId="47"/>
        <pc:sldMkLst>
          <pc:docMk/>
          <pc:sldMk cId="3053512790" sldId="1791"/>
        </pc:sldMkLst>
        <pc:graphicFrameChg chg="mod modGraphic">
          <ac:chgData name="Kory Thacher (APPS / POWERSHELL)" userId="995eb0f2-f21c-467c-a947-4f8fc26d0f2e" providerId="ADAL" clId="{2521250D-C9F9-4A75-B280-9040EE825173}" dt="2021-09-14T00:03:49.103" v="2073"/>
          <ac:graphicFrameMkLst>
            <pc:docMk/>
            <pc:sldMk cId="3053512790" sldId="1791"/>
            <ac:graphicFrameMk id="5" creationId="{00000000-0000-0000-0000-000000000000}"/>
          </ac:graphicFrameMkLst>
        </pc:graphicFrameChg>
      </pc:sldChg>
      <pc:sldChg chg="delSp modSp add del mod modShow">
        <pc:chgData name="Kory Thacher (APPS / POWERSHELL)" userId="995eb0f2-f21c-467c-a947-4f8fc26d0f2e" providerId="ADAL" clId="{2521250D-C9F9-4A75-B280-9040EE825173}" dt="2021-09-17T17:51:28.019" v="2244" actId="47"/>
        <pc:sldMkLst>
          <pc:docMk/>
          <pc:sldMk cId="1019621413" sldId="1792"/>
        </pc:sldMkLst>
        <pc:spChg chg="del">
          <ac:chgData name="Kory Thacher (APPS / POWERSHELL)" userId="995eb0f2-f21c-467c-a947-4f8fc26d0f2e" providerId="ADAL" clId="{2521250D-C9F9-4A75-B280-9040EE825173}" dt="2021-09-17T17:31:12.890" v="2086" actId="478"/>
          <ac:spMkLst>
            <pc:docMk/>
            <pc:sldMk cId="1019621413" sldId="1792"/>
            <ac:spMk id="3" creationId="{5D7DFDC2-9070-4DB0-AF0B-A6F3BCFD7896}"/>
          </ac:spMkLst>
        </pc:spChg>
        <pc:spChg chg="mod">
          <ac:chgData name="Kory Thacher (APPS / POWERSHELL)" userId="995eb0f2-f21c-467c-a947-4f8fc26d0f2e" providerId="ADAL" clId="{2521250D-C9F9-4A75-B280-9040EE825173}" dt="2021-09-17T17:31:25.452" v="2090" actId="1076"/>
          <ac:spMkLst>
            <pc:docMk/>
            <pc:sldMk cId="1019621413" sldId="1792"/>
            <ac:spMk id="4" creationId="{ACF473D4-13E8-498E-9E36-3A53D24E0E49}"/>
          </ac:spMkLst>
        </pc:spChg>
        <pc:spChg chg="mod">
          <ac:chgData name="Kory Thacher (APPS / POWERSHELL)" userId="995eb0f2-f21c-467c-a947-4f8fc26d0f2e" providerId="ADAL" clId="{2521250D-C9F9-4A75-B280-9040EE825173}" dt="2021-09-17T17:51:20.908" v="2242" actId="1076"/>
          <ac:spMkLst>
            <pc:docMk/>
            <pc:sldMk cId="1019621413" sldId="1792"/>
            <ac:spMk id="5" creationId="{C5B82EAC-A7C5-4EF4-B27E-3920FA375F5C}"/>
          </ac:spMkLst>
        </pc:spChg>
        <pc:spChg chg="mod">
          <ac:chgData name="Kory Thacher (APPS / POWERSHELL)" userId="995eb0f2-f21c-467c-a947-4f8fc26d0f2e" providerId="ADAL" clId="{2521250D-C9F9-4A75-B280-9040EE825173}" dt="2021-09-17T17:31:49.130" v="2094" actId="1076"/>
          <ac:spMkLst>
            <pc:docMk/>
            <pc:sldMk cId="1019621413" sldId="1792"/>
            <ac:spMk id="6" creationId="{B653218E-2448-4F26-BB6B-0D695142DA52}"/>
          </ac:spMkLst>
        </pc:spChg>
        <pc:spChg chg="mod">
          <ac:chgData name="Kory Thacher (APPS / POWERSHELL)" userId="995eb0f2-f21c-467c-a947-4f8fc26d0f2e" providerId="ADAL" clId="{2521250D-C9F9-4A75-B280-9040EE825173}" dt="2021-09-17T17:32:16.793" v="2096" actId="1076"/>
          <ac:spMkLst>
            <pc:docMk/>
            <pc:sldMk cId="1019621413" sldId="1792"/>
            <ac:spMk id="22" creationId="{9A6D8951-34AF-4661-AEF6-10BE78E67643}"/>
          </ac:spMkLst>
        </pc:spChg>
        <pc:cxnChg chg="del mod">
          <ac:chgData name="Kory Thacher (APPS / POWERSHELL)" userId="995eb0f2-f21c-467c-a947-4f8fc26d0f2e" providerId="ADAL" clId="{2521250D-C9F9-4A75-B280-9040EE825173}" dt="2021-09-17T17:31:16.482" v="2088" actId="478"/>
          <ac:cxnSpMkLst>
            <pc:docMk/>
            <pc:sldMk cId="1019621413" sldId="1792"/>
            <ac:cxnSpMk id="19" creationId="{6A68AA3C-E71E-4E28-8FE6-35805C6B4E5A}"/>
          </ac:cxnSpMkLst>
        </pc:cxnChg>
        <pc:cxnChg chg="mod">
          <ac:chgData name="Kory Thacher (APPS / POWERSHELL)" userId="995eb0f2-f21c-467c-a947-4f8fc26d0f2e" providerId="ADAL" clId="{2521250D-C9F9-4A75-B280-9040EE825173}" dt="2021-09-17T17:51:20.908" v="2242" actId="1076"/>
          <ac:cxnSpMkLst>
            <pc:docMk/>
            <pc:sldMk cId="1019621413" sldId="1792"/>
            <ac:cxnSpMk id="21" creationId="{D040CE5A-02DE-4D1A-A13B-06F7398182FB}"/>
          </ac:cxnSpMkLst>
        </pc:cxnChg>
        <pc:cxnChg chg="mod">
          <ac:chgData name="Kory Thacher (APPS / POWERSHELL)" userId="995eb0f2-f21c-467c-a947-4f8fc26d0f2e" providerId="ADAL" clId="{2521250D-C9F9-4A75-B280-9040EE825173}" dt="2021-09-17T17:31:49.130" v="2094" actId="1076"/>
          <ac:cxnSpMkLst>
            <pc:docMk/>
            <pc:sldMk cId="1019621413" sldId="1792"/>
            <ac:cxnSpMk id="51" creationId="{D6FD677E-4549-4362-995C-3662A5E3ACED}"/>
          </ac:cxnSpMkLst>
        </pc:cxnChg>
        <pc:cxnChg chg="mod">
          <ac:chgData name="Kory Thacher (APPS / POWERSHELL)" userId="995eb0f2-f21c-467c-a947-4f8fc26d0f2e" providerId="ADAL" clId="{2521250D-C9F9-4A75-B280-9040EE825173}" dt="2021-09-17T17:32:16.793" v="2096" actId="1076"/>
          <ac:cxnSpMkLst>
            <pc:docMk/>
            <pc:sldMk cId="1019621413" sldId="1792"/>
            <ac:cxnSpMk id="53" creationId="{A2FE32EC-9AD6-4532-95D7-0E91745560A7}"/>
          </ac:cxnSpMkLst>
        </pc:cxnChg>
        <pc:cxnChg chg="mod">
          <ac:chgData name="Kory Thacher (APPS / POWERSHELL)" userId="995eb0f2-f21c-467c-a947-4f8fc26d0f2e" providerId="ADAL" clId="{2521250D-C9F9-4A75-B280-9040EE825173}" dt="2021-09-17T17:31:49.130" v="2094" actId="1076"/>
          <ac:cxnSpMkLst>
            <pc:docMk/>
            <pc:sldMk cId="1019621413" sldId="1792"/>
            <ac:cxnSpMk id="55" creationId="{86C16418-4C60-4BD6-B185-75CB4BE395EF}"/>
          </ac:cxnSpMkLst>
        </pc:cxnChg>
        <pc:cxnChg chg="mod">
          <ac:chgData name="Kory Thacher (APPS / POWERSHELL)" userId="995eb0f2-f21c-467c-a947-4f8fc26d0f2e" providerId="ADAL" clId="{2521250D-C9F9-4A75-B280-9040EE825173}" dt="2021-09-17T17:51:22.865" v="2243" actId="1076"/>
          <ac:cxnSpMkLst>
            <pc:docMk/>
            <pc:sldMk cId="1019621413" sldId="1792"/>
            <ac:cxnSpMk id="57" creationId="{CA7D0A82-D048-4983-841A-EFEB23C8892D}"/>
          </ac:cxnSpMkLst>
        </pc:cxnChg>
      </pc:sldChg>
      <pc:sldChg chg="modSp add mod modShow delCm modCm">
        <pc:chgData name="Kory Thacher (APPS / POWERSHELL)" userId="995eb0f2-f21c-467c-a947-4f8fc26d0f2e" providerId="ADAL" clId="{2521250D-C9F9-4A75-B280-9040EE825173}" dt="2021-10-20T17:29:48.309" v="4278"/>
        <pc:sldMkLst>
          <pc:docMk/>
          <pc:sldMk cId="1126158603" sldId="1793"/>
        </pc:sldMkLst>
        <pc:graphicFrameChg chg="mod modGraphic">
          <ac:chgData name="Kory Thacher (APPS / POWERSHELL)" userId="995eb0f2-f21c-467c-a947-4f8fc26d0f2e" providerId="ADAL" clId="{2521250D-C9F9-4A75-B280-9040EE825173}" dt="2021-09-17T17:37:41.932" v="2124" actId="403"/>
          <ac:graphicFrameMkLst>
            <pc:docMk/>
            <pc:sldMk cId="1126158603" sldId="1793"/>
            <ac:graphicFrameMk id="2" creationId="{00DFD454-F652-4BA4-B0DA-571743499239}"/>
          </ac:graphicFrameMkLst>
        </pc:graphicFrameChg>
        <pc:picChg chg="mod">
          <ac:chgData name="Kory Thacher (APPS / POWERSHELL)" userId="995eb0f2-f21c-467c-a947-4f8fc26d0f2e" providerId="ADAL" clId="{2521250D-C9F9-4A75-B280-9040EE825173}" dt="2021-09-17T17:35:45.195" v="2108" actId="1035"/>
          <ac:picMkLst>
            <pc:docMk/>
            <pc:sldMk cId="1126158603" sldId="1793"/>
            <ac:picMk id="9" creationId="{14B887AC-C67F-4338-9A62-13069BBBCF68}"/>
          </ac:picMkLst>
        </pc:picChg>
        <pc:picChg chg="mod">
          <ac:chgData name="Kory Thacher (APPS / POWERSHELL)" userId="995eb0f2-f21c-467c-a947-4f8fc26d0f2e" providerId="ADAL" clId="{2521250D-C9F9-4A75-B280-9040EE825173}" dt="2021-09-17T17:35:45.195" v="2108" actId="1035"/>
          <ac:picMkLst>
            <pc:docMk/>
            <pc:sldMk cId="1126158603" sldId="1793"/>
            <ac:picMk id="15" creationId="{B54C99B4-7F3D-48B4-A5F5-6FED5DA02F32}"/>
          </ac:picMkLst>
        </pc:picChg>
        <pc:picChg chg="mod">
          <ac:chgData name="Kory Thacher (APPS / POWERSHELL)" userId="995eb0f2-f21c-467c-a947-4f8fc26d0f2e" providerId="ADAL" clId="{2521250D-C9F9-4A75-B280-9040EE825173}" dt="2021-09-17T17:35:48.884" v="2109" actId="1035"/>
          <ac:picMkLst>
            <pc:docMk/>
            <pc:sldMk cId="1126158603" sldId="1793"/>
            <ac:picMk id="16" creationId="{129E32BA-2A38-45E4-8D57-4E76ECA12579}"/>
          </ac:picMkLst>
        </pc:picChg>
      </pc:sldChg>
      <pc:sldChg chg="addSp delSp modSp add del mod">
        <pc:chgData name="Kory Thacher (APPS / POWERSHELL)" userId="995eb0f2-f21c-467c-a947-4f8fc26d0f2e" providerId="ADAL" clId="{2521250D-C9F9-4A75-B280-9040EE825173}" dt="2021-10-01T18:04:09.503" v="4100" actId="47"/>
        <pc:sldMkLst>
          <pc:docMk/>
          <pc:sldMk cId="2235031368" sldId="1794"/>
        </pc:sldMkLst>
        <pc:spChg chg="mod">
          <ac:chgData name="Kory Thacher (APPS / POWERSHELL)" userId="995eb0f2-f21c-467c-a947-4f8fc26d0f2e" providerId="ADAL" clId="{2521250D-C9F9-4A75-B280-9040EE825173}" dt="2021-09-17T17:47:01.097" v="2226" actId="1035"/>
          <ac:spMkLst>
            <pc:docMk/>
            <pc:sldMk cId="2235031368" sldId="1794"/>
            <ac:spMk id="4" creationId="{DFD1CF80-9BAF-4FBF-A0E3-E13C2FD73DA0}"/>
          </ac:spMkLst>
        </pc:spChg>
        <pc:graphicFrameChg chg="mod">
          <ac:chgData name="Kory Thacher (APPS / POWERSHELL)" userId="995eb0f2-f21c-467c-a947-4f8fc26d0f2e" providerId="ADAL" clId="{2521250D-C9F9-4A75-B280-9040EE825173}" dt="2021-09-17T17:48:20.869" v="2232" actId="207"/>
          <ac:graphicFrameMkLst>
            <pc:docMk/>
            <pc:sldMk cId="2235031368" sldId="1794"/>
            <ac:graphicFrameMk id="3" creationId="{D0E0DB5C-7432-4211-B55B-5D6CE03F2884}"/>
          </ac:graphicFrameMkLst>
        </pc:graphicFrameChg>
        <pc:graphicFrameChg chg="add mod">
          <ac:chgData name="Kory Thacher (APPS / POWERSHELL)" userId="995eb0f2-f21c-467c-a947-4f8fc26d0f2e" providerId="ADAL" clId="{2521250D-C9F9-4A75-B280-9040EE825173}" dt="2021-09-17T17:48:46.818" v="2235" actId="113"/>
          <ac:graphicFrameMkLst>
            <pc:docMk/>
            <pc:sldMk cId="2235031368" sldId="1794"/>
            <ac:graphicFrameMk id="5" creationId="{B26B2A49-6424-4814-B32B-5CC5BEA8E936}"/>
          </ac:graphicFrameMkLst>
        </pc:graphicFrameChg>
        <pc:graphicFrameChg chg="add del mod">
          <ac:chgData name="Kory Thacher (APPS / POWERSHELL)" userId="995eb0f2-f21c-467c-a947-4f8fc26d0f2e" providerId="ADAL" clId="{2521250D-C9F9-4A75-B280-9040EE825173}" dt="2021-09-17T17:48:29.918" v="2234" actId="478"/>
          <ac:graphicFrameMkLst>
            <pc:docMk/>
            <pc:sldMk cId="2235031368" sldId="1794"/>
            <ac:graphicFrameMk id="6" creationId="{2F9C12E3-57C7-467E-8B75-3A7F87914CBA}"/>
          </ac:graphicFrameMkLst>
        </pc:graphicFrameChg>
      </pc:sldChg>
      <pc:sldChg chg="modSp add del mod modShow modCm">
        <pc:chgData name="Kory Thacher (APPS / POWERSHELL)" userId="995eb0f2-f21c-467c-a947-4f8fc26d0f2e" providerId="ADAL" clId="{2521250D-C9F9-4A75-B280-9040EE825173}" dt="2021-10-01T18:12:24.544" v="4153" actId="47"/>
        <pc:sldMkLst>
          <pc:docMk/>
          <pc:sldMk cId="1036788214" sldId="1795"/>
        </pc:sldMkLst>
        <pc:spChg chg="mod">
          <ac:chgData name="Kory Thacher (APPS / POWERSHELL)" userId="995eb0f2-f21c-467c-a947-4f8fc26d0f2e" providerId="ADAL" clId="{2521250D-C9F9-4A75-B280-9040EE825173}" dt="2021-09-17T17:57:39.065" v="2291" actId="20577"/>
          <ac:spMkLst>
            <pc:docMk/>
            <pc:sldMk cId="1036788214" sldId="1795"/>
            <ac:spMk id="2" creationId="{00000000-0000-0000-0000-000000000000}"/>
          </ac:spMkLst>
        </pc:spChg>
        <pc:spChg chg="mod">
          <ac:chgData name="Kory Thacher (APPS / POWERSHELL)" userId="995eb0f2-f21c-467c-a947-4f8fc26d0f2e" providerId="ADAL" clId="{2521250D-C9F9-4A75-B280-9040EE825173}" dt="2021-09-17T17:58:18.411" v="2381" actId="113"/>
          <ac:spMkLst>
            <pc:docMk/>
            <pc:sldMk cId="1036788214" sldId="1795"/>
            <ac:spMk id="3" creationId="{00000000-0000-0000-0000-000000000000}"/>
          </ac:spMkLst>
        </pc:spChg>
        <pc:spChg chg="mod">
          <ac:chgData name="Kory Thacher (APPS / POWERSHELL)" userId="995eb0f2-f21c-467c-a947-4f8fc26d0f2e" providerId="ADAL" clId="{2521250D-C9F9-4A75-B280-9040EE825173}" dt="2021-09-17T17:55:41.327" v="2248" actId="1076"/>
          <ac:spMkLst>
            <pc:docMk/>
            <pc:sldMk cId="1036788214" sldId="1795"/>
            <ac:spMk id="7" creationId="{9AE9B22F-7DCE-4EED-B25C-BE9552209410}"/>
          </ac:spMkLst>
        </pc:spChg>
      </pc:sldChg>
      <pc:sldChg chg="mod modAnim modShow modCm">
        <pc:chgData name="Kory Thacher (APPS / POWERSHELL)" userId="995eb0f2-f21c-467c-a947-4f8fc26d0f2e" providerId="ADAL" clId="{2521250D-C9F9-4A75-B280-9040EE825173}" dt="2021-10-20T17:29:37.200" v="4277"/>
        <pc:sldMkLst>
          <pc:docMk/>
          <pc:sldMk cId="1379602112" sldId="1796"/>
        </pc:sldMkLst>
      </pc:sldChg>
      <pc:sldChg chg="modSp ord">
        <pc:chgData name="Kory Thacher (APPS / POWERSHELL)" userId="995eb0f2-f21c-467c-a947-4f8fc26d0f2e" providerId="ADAL" clId="{2521250D-C9F9-4A75-B280-9040EE825173}" dt="2021-10-01T18:00:27.800" v="4048"/>
        <pc:sldMkLst>
          <pc:docMk/>
          <pc:sldMk cId="2892225085" sldId="1799"/>
        </pc:sldMkLst>
        <pc:graphicFrameChg chg="mod">
          <ac:chgData name="Kory Thacher (APPS / POWERSHELL)" userId="995eb0f2-f21c-467c-a947-4f8fc26d0f2e" providerId="ADAL" clId="{2521250D-C9F9-4A75-B280-9040EE825173}" dt="2021-10-01T17:10:59.316" v="2389"/>
          <ac:graphicFrameMkLst>
            <pc:docMk/>
            <pc:sldMk cId="2892225085" sldId="1799"/>
            <ac:graphicFrameMk id="17" creationId="{5768BE25-8529-4798-9A30-A3247E63EE2E}"/>
          </ac:graphicFrameMkLst>
        </pc:graphicFrameChg>
      </pc:sldChg>
      <pc:sldChg chg="del">
        <pc:chgData name="Kory Thacher (APPS / POWERSHELL)" userId="995eb0f2-f21c-467c-a947-4f8fc26d0f2e" providerId="ADAL" clId="{2521250D-C9F9-4A75-B280-9040EE825173}" dt="2021-10-01T17:08:34.173" v="2387" actId="47"/>
        <pc:sldMkLst>
          <pc:docMk/>
          <pc:sldMk cId="265709502" sldId="1802"/>
        </pc:sldMkLst>
      </pc:sldChg>
      <pc:sldChg chg="del">
        <pc:chgData name="Kory Thacher (APPS / POWERSHELL)" userId="995eb0f2-f21c-467c-a947-4f8fc26d0f2e" providerId="ADAL" clId="{2521250D-C9F9-4A75-B280-9040EE825173}" dt="2021-10-01T17:08:34.173" v="2387" actId="47"/>
        <pc:sldMkLst>
          <pc:docMk/>
          <pc:sldMk cId="1676992980" sldId="1803"/>
        </pc:sldMkLst>
      </pc:sldChg>
      <pc:sldChg chg="del">
        <pc:chgData name="Kory Thacher (APPS / POWERSHELL)" userId="995eb0f2-f21c-467c-a947-4f8fc26d0f2e" providerId="ADAL" clId="{2521250D-C9F9-4A75-B280-9040EE825173}" dt="2021-10-01T17:08:34.173" v="2387" actId="47"/>
        <pc:sldMkLst>
          <pc:docMk/>
          <pc:sldMk cId="3660733567" sldId="1804"/>
        </pc:sldMkLst>
      </pc:sldChg>
      <pc:sldChg chg="modSp mod modShow">
        <pc:chgData name="Kory Thacher (APPS / POWERSHELL)" userId="995eb0f2-f21c-467c-a947-4f8fc26d0f2e" providerId="ADAL" clId="{2521250D-C9F9-4A75-B280-9040EE825173}" dt="2021-10-01T18:02:45.733" v="4097" actId="729"/>
        <pc:sldMkLst>
          <pc:docMk/>
          <pc:sldMk cId="1882859933" sldId="1805"/>
        </pc:sldMkLst>
        <pc:picChg chg="mod">
          <ac:chgData name="Kory Thacher (APPS / POWERSHELL)" userId="995eb0f2-f21c-467c-a947-4f8fc26d0f2e" providerId="ADAL" clId="{2521250D-C9F9-4A75-B280-9040EE825173}" dt="2021-10-01T17:09:06.913" v="2388" actId="14100"/>
          <ac:picMkLst>
            <pc:docMk/>
            <pc:sldMk cId="1882859933" sldId="1805"/>
            <ac:picMk id="5" creationId="{C1370F42-AEEE-4021-B5AD-275A98883DC6}"/>
          </ac:picMkLst>
        </pc:picChg>
      </pc:sldChg>
      <pc:sldChg chg="del">
        <pc:chgData name="Kory Thacher (APPS / POWERSHELL)" userId="995eb0f2-f21c-467c-a947-4f8fc26d0f2e" providerId="ADAL" clId="{2521250D-C9F9-4A75-B280-9040EE825173}" dt="2021-10-01T17:08:34.173" v="2387" actId="47"/>
        <pc:sldMkLst>
          <pc:docMk/>
          <pc:sldMk cId="2034563406" sldId="1806"/>
        </pc:sldMkLst>
      </pc:sldChg>
      <pc:sldChg chg="modSp mod">
        <pc:chgData name="Kory Thacher (APPS / POWERSHELL)" userId="995eb0f2-f21c-467c-a947-4f8fc26d0f2e" providerId="ADAL" clId="{2521250D-C9F9-4A75-B280-9040EE825173}" dt="2021-10-01T17:18:32.171" v="2472" actId="20577"/>
        <pc:sldMkLst>
          <pc:docMk/>
          <pc:sldMk cId="636856898" sldId="1808"/>
        </pc:sldMkLst>
        <pc:spChg chg="mod">
          <ac:chgData name="Kory Thacher (APPS / POWERSHELL)" userId="995eb0f2-f21c-467c-a947-4f8fc26d0f2e" providerId="ADAL" clId="{2521250D-C9F9-4A75-B280-9040EE825173}" dt="2021-10-01T17:18:32.171" v="2472" actId="20577"/>
          <ac:spMkLst>
            <pc:docMk/>
            <pc:sldMk cId="636856898" sldId="1808"/>
            <ac:spMk id="3" creationId="{00000000-0000-0000-0000-000000000000}"/>
          </ac:spMkLst>
        </pc:spChg>
      </pc:sldChg>
      <pc:sldChg chg="modSp add del">
        <pc:chgData name="Kory Thacher (APPS / POWERSHELL)" userId="995eb0f2-f21c-467c-a947-4f8fc26d0f2e" providerId="ADAL" clId="{2521250D-C9F9-4A75-B280-9040EE825173}" dt="2021-09-27T21:38:14.245" v="2386" actId="47"/>
        <pc:sldMkLst>
          <pc:docMk/>
          <pc:sldMk cId="929651832" sldId="1808"/>
        </pc:sldMkLst>
        <pc:graphicFrameChg chg="mod">
          <ac:chgData name="Kory Thacher (APPS / POWERSHELL)" userId="995eb0f2-f21c-467c-a947-4f8fc26d0f2e" providerId="ADAL" clId="{2521250D-C9F9-4A75-B280-9040EE825173}" dt="2021-09-27T21:38:09.392" v="2385"/>
          <ac:graphicFrameMkLst>
            <pc:docMk/>
            <pc:sldMk cId="929651832" sldId="1808"/>
            <ac:graphicFrameMk id="3" creationId="{D0E0DB5C-7432-4211-B55B-5D6CE03F2884}"/>
          </ac:graphicFrameMkLst>
        </pc:graphicFrameChg>
      </pc:sldChg>
      <pc:sldChg chg="addSp delSp modSp add mod modShow">
        <pc:chgData name="Kory Thacher (APPS / POWERSHELL)" userId="995eb0f2-f21c-467c-a947-4f8fc26d0f2e" providerId="ADAL" clId="{2521250D-C9F9-4A75-B280-9040EE825173}" dt="2021-10-01T18:10:15.295" v="4149" actId="20577"/>
        <pc:sldMkLst>
          <pc:docMk/>
          <pc:sldMk cId="1101205238" sldId="1810"/>
        </pc:sldMkLst>
        <pc:spChg chg="del mod">
          <ac:chgData name="Kory Thacher (APPS / POWERSHELL)" userId="995eb0f2-f21c-467c-a947-4f8fc26d0f2e" providerId="ADAL" clId="{2521250D-C9F9-4A75-B280-9040EE825173}" dt="2021-10-01T17:21:45.311" v="2868" actId="12084"/>
          <ac:spMkLst>
            <pc:docMk/>
            <pc:sldMk cId="1101205238" sldId="1810"/>
            <ac:spMk id="3" creationId="{00000000-0000-0000-0000-000000000000}"/>
          </ac:spMkLst>
        </pc:spChg>
        <pc:spChg chg="mod">
          <ac:chgData name="Kory Thacher (APPS / POWERSHELL)" userId="995eb0f2-f21c-467c-a947-4f8fc26d0f2e" providerId="ADAL" clId="{2521250D-C9F9-4A75-B280-9040EE825173}" dt="2021-10-01T18:08:45.735" v="4129" actId="1036"/>
          <ac:spMkLst>
            <pc:docMk/>
            <pc:sldMk cId="1101205238" sldId="1810"/>
            <ac:spMk id="6" creationId="{00000000-0000-0000-0000-000000000000}"/>
          </ac:spMkLst>
        </pc:spChg>
        <pc:spChg chg="del mod">
          <ac:chgData name="Kory Thacher (APPS / POWERSHELL)" userId="995eb0f2-f21c-467c-a947-4f8fc26d0f2e" providerId="ADAL" clId="{2521250D-C9F9-4A75-B280-9040EE825173}" dt="2021-10-01T17:15:26.845" v="2404" actId="478"/>
          <ac:spMkLst>
            <pc:docMk/>
            <pc:sldMk cId="1101205238" sldId="1810"/>
            <ac:spMk id="8" creationId="{00000000-0000-0000-0000-000000000000}"/>
          </ac:spMkLst>
        </pc:spChg>
        <pc:spChg chg="del">
          <ac:chgData name="Kory Thacher (APPS / POWERSHELL)" userId="995eb0f2-f21c-467c-a947-4f8fc26d0f2e" providerId="ADAL" clId="{2521250D-C9F9-4A75-B280-9040EE825173}" dt="2021-10-01T17:15:01.254" v="2395" actId="478"/>
          <ac:spMkLst>
            <pc:docMk/>
            <pc:sldMk cId="1101205238" sldId="1810"/>
            <ac:spMk id="9" creationId="{418C45B4-BD61-454B-B736-C66BD9E3D929}"/>
          </ac:spMkLst>
        </pc:spChg>
        <pc:graphicFrameChg chg="add mod modGraphic">
          <ac:chgData name="Kory Thacher (APPS / POWERSHELL)" userId="995eb0f2-f21c-467c-a947-4f8fc26d0f2e" providerId="ADAL" clId="{2521250D-C9F9-4A75-B280-9040EE825173}" dt="2021-10-01T18:10:15.295" v="4149" actId="20577"/>
          <ac:graphicFrameMkLst>
            <pc:docMk/>
            <pc:sldMk cId="1101205238" sldId="1810"/>
            <ac:graphicFrameMk id="4" creationId="{ED365544-2E33-4990-88D9-C6A7A62DFB99}"/>
          </ac:graphicFrameMkLst>
        </pc:graphicFrameChg>
      </pc:sldChg>
      <pc:sldChg chg="addSp delSp modSp add mod modShow delCm">
        <pc:chgData name="Kory Thacher (APPS / POWERSHELL)" userId="995eb0f2-f21c-467c-a947-4f8fc26d0f2e" providerId="ADAL" clId="{2521250D-C9F9-4A75-B280-9040EE825173}" dt="2021-10-01T18:17:35.584" v="4154" actId="729"/>
        <pc:sldMkLst>
          <pc:docMk/>
          <pc:sldMk cId="1240889345" sldId="1811"/>
        </pc:sldMkLst>
        <pc:spChg chg="mod">
          <ac:chgData name="Kory Thacher (APPS / POWERSHELL)" userId="995eb0f2-f21c-467c-a947-4f8fc26d0f2e" providerId="ADAL" clId="{2521250D-C9F9-4A75-B280-9040EE825173}" dt="2021-10-01T17:30:19.008" v="3222" actId="1076"/>
          <ac:spMkLst>
            <pc:docMk/>
            <pc:sldMk cId="1240889345" sldId="1811"/>
            <ac:spMk id="4" creationId="{16643B86-A377-4AC8-8AAA-04DD80B08CBB}"/>
          </ac:spMkLst>
        </pc:spChg>
        <pc:spChg chg="del mod">
          <ac:chgData name="Kory Thacher (APPS / POWERSHELL)" userId="995eb0f2-f21c-467c-a947-4f8fc26d0f2e" providerId="ADAL" clId="{2521250D-C9F9-4A75-B280-9040EE825173}" dt="2021-10-01T17:29:19.084" v="3215" actId="12084"/>
          <ac:spMkLst>
            <pc:docMk/>
            <pc:sldMk cId="1240889345" sldId="1811"/>
            <ac:spMk id="14" creationId="{5F9CF85F-BD20-4B8B-9D76-6096BACEBC58}"/>
          </ac:spMkLst>
        </pc:spChg>
        <pc:spChg chg="del mod">
          <ac:chgData name="Kory Thacher (APPS / POWERSHELL)" userId="995eb0f2-f21c-467c-a947-4f8fc26d0f2e" providerId="ADAL" clId="{2521250D-C9F9-4A75-B280-9040EE825173}" dt="2021-10-01T17:24:14.133" v="2900" actId="478"/>
          <ac:spMkLst>
            <pc:docMk/>
            <pc:sldMk cId="1240889345" sldId="1811"/>
            <ac:spMk id="16" creationId="{1D54358D-E2F3-48A7-B3CE-F68AFC373CCF}"/>
          </ac:spMkLst>
        </pc:spChg>
        <pc:graphicFrameChg chg="add mod modGraphic">
          <ac:chgData name="Kory Thacher (APPS / POWERSHELL)" userId="995eb0f2-f21c-467c-a947-4f8fc26d0f2e" providerId="ADAL" clId="{2521250D-C9F9-4A75-B280-9040EE825173}" dt="2021-10-01T17:30:39.730" v="3224" actId="14100"/>
          <ac:graphicFrameMkLst>
            <pc:docMk/>
            <pc:sldMk cId="1240889345" sldId="1811"/>
            <ac:graphicFrameMk id="3" creationId="{70123ECC-7C7D-49AE-97EA-F5B01B6CCE3B}"/>
          </ac:graphicFrameMkLst>
        </pc:graphicFrameChg>
      </pc:sldChg>
      <pc:sldChg chg="addSp delSp modSp add mod modShow delCm">
        <pc:chgData name="Kory Thacher (APPS / POWERSHELL)" userId="995eb0f2-f21c-467c-a947-4f8fc26d0f2e" providerId="ADAL" clId="{2521250D-C9F9-4A75-B280-9040EE825173}" dt="2021-10-01T18:17:56.682" v="4158" actId="729"/>
        <pc:sldMkLst>
          <pc:docMk/>
          <pc:sldMk cId="2365285683" sldId="1812"/>
        </pc:sldMkLst>
        <pc:spChg chg="del mod">
          <ac:chgData name="Kory Thacher (APPS / POWERSHELL)" userId="995eb0f2-f21c-467c-a947-4f8fc26d0f2e" providerId="ADAL" clId="{2521250D-C9F9-4A75-B280-9040EE825173}" dt="2021-10-01T17:33:03.268" v="3273" actId="12084"/>
          <ac:spMkLst>
            <pc:docMk/>
            <pc:sldMk cId="2365285683" sldId="1812"/>
            <ac:spMk id="3" creationId="{00000000-0000-0000-0000-000000000000}"/>
          </ac:spMkLst>
        </pc:spChg>
        <pc:spChg chg="mod">
          <ac:chgData name="Kory Thacher (APPS / POWERSHELL)" userId="995eb0f2-f21c-467c-a947-4f8fc26d0f2e" providerId="ADAL" clId="{2521250D-C9F9-4A75-B280-9040EE825173}" dt="2021-10-01T17:33:06.692" v="3274" actId="1076"/>
          <ac:spMkLst>
            <pc:docMk/>
            <pc:sldMk cId="2365285683" sldId="1812"/>
            <ac:spMk id="8" creationId="{116F3ADC-E186-4D2D-9DAE-25E1A8C8A149}"/>
          </ac:spMkLst>
        </pc:spChg>
        <pc:graphicFrameChg chg="add mod">
          <ac:chgData name="Kory Thacher (APPS / POWERSHELL)" userId="995eb0f2-f21c-467c-a947-4f8fc26d0f2e" providerId="ADAL" clId="{2521250D-C9F9-4A75-B280-9040EE825173}" dt="2021-10-01T17:33:45.468" v="3279" actId="1035"/>
          <ac:graphicFrameMkLst>
            <pc:docMk/>
            <pc:sldMk cId="2365285683" sldId="1812"/>
            <ac:graphicFrameMk id="4" creationId="{6645271A-6B6D-4E8D-A5B7-36B60192491E}"/>
          </ac:graphicFrameMkLst>
        </pc:graphicFrameChg>
      </pc:sldChg>
      <pc:sldChg chg="modSp add mod modShow">
        <pc:chgData name="Kory Thacher (APPS / POWERSHELL)" userId="995eb0f2-f21c-467c-a947-4f8fc26d0f2e" providerId="ADAL" clId="{2521250D-C9F9-4A75-B280-9040EE825173}" dt="2021-10-01T18:20:41.643" v="4166" actId="729"/>
        <pc:sldMkLst>
          <pc:docMk/>
          <pc:sldMk cId="839331305" sldId="1813"/>
        </pc:sldMkLst>
        <pc:graphicFrameChg chg="mod">
          <ac:chgData name="Kory Thacher (APPS / POWERSHELL)" userId="995eb0f2-f21c-467c-a947-4f8fc26d0f2e" providerId="ADAL" clId="{2521250D-C9F9-4A75-B280-9040EE825173}" dt="2021-10-01T17:39:36.197" v="3441" actId="113"/>
          <ac:graphicFrameMkLst>
            <pc:docMk/>
            <pc:sldMk cId="839331305" sldId="1813"/>
            <ac:graphicFrameMk id="3" creationId="{D0E0DB5C-7432-4211-B55B-5D6CE03F2884}"/>
          </ac:graphicFrameMkLst>
        </pc:graphicFrameChg>
      </pc:sldChg>
      <pc:sldChg chg="del">
        <pc:chgData name="Kory Thacher (APPS / POWERSHELL)" userId="995eb0f2-f21c-467c-a947-4f8fc26d0f2e" providerId="ADAL" clId="{2521250D-C9F9-4A75-B280-9040EE825173}" dt="2021-10-01T18:02:40.212" v="4096" actId="47"/>
        <pc:sldMkLst>
          <pc:docMk/>
          <pc:sldMk cId="4099431322" sldId="1814"/>
        </pc:sldMkLst>
      </pc:sldChg>
      <pc:sldChg chg="modSp add mod">
        <pc:chgData name="Kory Thacher (APPS / POWERSHELL)" userId="995eb0f2-f21c-467c-a947-4f8fc26d0f2e" providerId="ADAL" clId="{2521250D-C9F9-4A75-B280-9040EE825173}" dt="2021-10-01T17:39:32.468" v="3440" actId="113"/>
        <pc:sldMkLst>
          <pc:docMk/>
          <pc:sldMk cId="191377723" sldId="1815"/>
        </pc:sldMkLst>
        <pc:graphicFrameChg chg="mod">
          <ac:chgData name="Kory Thacher (APPS / POWERSHELL)" userId="995eb0f2-f21c-467c-a947-4f8fc26d0f2e" providerId="ADAL" clId="{2521250D-C9F9-4A75-B280-9040EE825173}" dt="2021-10-01T17:39:32.468" v="3440" actId="113"/>
          <ac:graphicFrameMkLst>
            <pc:docMk/>
            <pc:sldMk cId="191377723" sldId="1815"/>
            <ac:graphicFrameMk id="3" creationId="{D0E0DB5C-7432-4211-B55B-5D6CE03F2884}"/>
          </ac:graphicFrameMkLst>
        </pc:graphicFrameChg>
      </pc:sldChg>
      <pc:sldChg chg="addSp delSp modSp add mod modShow modCm modNotesTx">
        <pc:chgData name="Kory Thacher (APPS / POWERSHELL)" userId="995eb0f2-f21c-467c-a947-4f8fc26d0f2e" providerId="ADAL" clId="{2521250D-C9F9-4A75-B280-9040EE825173}" dt="2021-10-20T18:07:33.975" v="4369"/>
        <pc:sldMkLst>
          <pc:docMk/>
          <pc:sldMk cId="618369180" sldId="1816"/>
        </pc:sldMkLst>
        <pc:spChg chg="del">
          <ac:chgData name="Kory Thacher (APPS / POWERSHELL)" userId="995eb0f2-f21c-467c-a947-4f8fc26d0f2e" providerId="ADAL" clId="{2521250D-C9F9-4A75-B280-9040EE825173}" dt="2021-10-01T17:51:59.545" v="3950" actId="478"/>
          <ac:spMkLst>
            <pc:docMk/>
            <pc:sldMk cId="618369180" sldId="1816"/>
            <ac:spMk id="2" creationId="{F689B7B4-FFB2-42CC-9F07-873F521B0552}"/>
          </ac:spMkLst>
        </pc:spChg>
        <pc:spChg chg="del">
          <ac:chgData name="Kory Thacher (APPS / POWERSHELL)" userId="995eb0f2-f21c-467c-a947-4f8fc26d0f2e" providerId="ADAL" clId="{2521250D-C9F9-4A75-B280-9040EE825173}" dt="2021-10-01T17:52:00.698" v="3951" actId="478"/>
          <ac:spMkLst>
            <pc:docMk/>
            <pc:sldMk cId="618369180" sldId="1816"/>
            <ac:spMk id="3" creationId="{A6B8B5DD-B432-4245-95A6-06E580AA5A3D}"/>
          </ac:spMkLst>
        </pc:spChg>
        <pc:spChg chg="del">
          <ac:chgData name="Kory Thacher (APPS / POWERSHELL)" userId="995eb0f2-f21c-467c-a947-4f8fc26d0f2e" providerId="ADAL" clId="{2521250D-C9F9-4A75-B280-9040EE825173}" dt="2021-10-01T17:45:08.835" v="3613" actId="478"/>
          <ac:spMkLst>
            <pc:docMk/>
            <pc:sldMk cId="618369180" sldId="1816"/>
            <ac:spMk id="5" creationId="{086790D2-6FD0-4ED4-9ABC-EBD84A6CF1DA}"/>
          </ac:spMkLst>
        </pc:spChg>
        <pc:spChg chg="mod">
          <ac:chgData name="Kory Thacher (APPS / POWERSHELL)" userId="995eb0f2-f21c-467c-a947-4f8fc26d0f2e" providerId="ADAL" clId="{2521250D-C9F9-4A75-B280-9040EE825173}" dt="2021-10-01T17:45:06.075" v="3612" actId="20577"/>
          <ac:spMkLst>
            <pc:docMk/>
            <pc:sldMk cId="618369180" sldId="1816"/>
            <ac:spMk id="9" creationId="{00000000-0000-0000-0000-000000000000}"/>
          </ac:spMkLst>
        </pc:spChg>
        <pc:spChg chg="del mod">
          <ac:chgData name="Kory Thacher (APPS / POWERSHELL)" userId="995eb0f2-f21c-467c-a947-4f8fc26d0f2e" providerId="ADAL" clId="{2521250D-C9F9-4A75-B280-9040EE825173}" dt="2021-10-01T17:52:15.654" v="3954" actId="12084"/>
          <ac:spMkLst>
            <pc:docMk/>
            <pc:sldMk cId="618369180" sldId="1816"/>
            <ac:spMk id="10" creationId="{00000000-0000-0000-0000-000000000000}"/>
          </ac:spMkLst>
        </pc:spChg>
        <pc:spChg chg="mod">
          <ac:chgData name="Kory Thacher (APPS / POWERSHELL)" userId="995eb0f2-f21c-467c-a947-4f8fc26d0f2e" providerId="ADAL" clId="{2521250D-C9F9-4A75-B280-9040EE825173}" dt="2021-10-01T17:56:07.451" v="4007" actId="20577"/>
          <ac:spMkLst>
            <pc:docMk/>
            <pc:sldMk cId="618369180" sldId="1816"/>
            <ac:spMk id="11" creationId="{62D010B2-1781-403C-9CEB-C1AB5539B229}"/>
          </ac:spMkLst>
        </pc:spChg>
        <pc:graphicFrameChg chg="add mod modGraphic">
          <ac:chgData name="Kory Thacher (APPS / POWERSHELL)" userId="995eb0f2-f21c-467c-a947-4f8fc26d0f2e" providerId="ADAL" clId="{2521250D-C9F9-4A75-B280-9040EE825173}" dt="2021-10-01T18:22:57.937" v="4232" actId="113"/>
          <ac:graphicFrameMkLst>
            <pc:docMk/>
            <pc:sldMk cId="618369180" sldId="1816"/>
            <ac:graphicFrameMk id="4" creationId="{F87984F7-1379-41DA-93B6-E213CEAC7B80}"/>
          </ac:graphicFrameMkLst>
        </pc:graphicFrameChg>
      </pc:sldChg>
      <pc:sldChg chg="addSp delSp modSp add mod">
        <pc:chgData name="Kory Thacher (APPS / POWERSHELL)" userId="995eb0f2-f21c-467c-a947-4f8fc26d0f2e" providerId="ADAL" clId="{2521250D-C9F9-4A75-B280-9040EE825173}" dt="2021-10-01T18:02:35.057" v="4095" actId="207"/>
        <pc:sldMkLst>
          <pc:docMk/>
          <pc:sldMk cId="1571694054" sldId="1818"/>
        </pc:sldMkLst>
        <pc:spChg chg="add mod ord">
          <ac:chgData name="Kory Thacher (APPS / POWERSHELL)" userId="995eb0f2-f21c-467c-a947-4f8fc26d0f2e" providerId="ADAL" clId="{2521250D-C9F9-4A75-B280-9040EE825173}" dt="2021-10-01T17:59:31.459" v="4041" actId="1076"/>
          <ac:spMkLst>
            <pc:docMk/>
            <pc:sldMk cId="1571694054" sldId="1818"/>
            <ac:spMk id="7" creationId="{A9912A70-01BE-4C0D-8147-7F3FB2D91550}"/>
          </ac:spMkLst>
        </pc:spChg>
        <pc:graphicFrameChg chg="mod">
          <ac:chgData name="Kory Thacher (APPS / POWERSHELL)" userId="995eb0f2-f21c-467c-a947-4f8fc26d0f2e" providerId="ADAL" clId="{2521250D-C9F9-4A75-B280-9040EE825173}" dt="2021-10-01T17:59:22.077" v="4039" actId="2085"/>
          <ac:graphicFrameMkLst>
            <pc:docMk/>
            <pc:sldMk cId="1571694054" sldId="1818"/>
            <ac:graphicFrameMk id="3" creationId="{D0E0DB5C-7432-4211-B55B-5D6CE03F2884}"/>
          </ac:graphicFrameMkLst>
        </pc:graphicFrameChg>
        <pc:graphicFrameChg chg="mod">
          <ac:chgData name="Kory Thacher (APPS / POWERSHELL)" userId="995eb0f2-f21c-467c-a947-4f8fc26d0f2e" providerId="ADAL" clId="{2521250D-C9F9-4A75-B280-9040EE825173}" dt="2021-10-01T18:02:35.057" v="4095" actId="207"/>
          <ac:graphicFrameMkLst>
            <pc:docMk/>
            <pc:sldMk cId="1571694054" sldId="1818"/>
            <ac:graphicFrameMk id="4" creationId="{1AF61723-5420-4861-8D3E-C4C939A071A4}"/>
          </ac:graphicFrameMkLst>
        </pc:graphicFrameChg>
        <pc:cxnChg chg="del">
          <ac:chgData name="Kory Thacher (APPS / POWERSHELL)" userId="995eb0f2-f21c-467c-a947-4f8fc26d0f2e" providerId="ADAL" clId="{2521250D-C9F9-4A75-B280-9040EE825173}" dt="2021-10-01T17:58:00.786" v="4011" actId="478"/>
          <ac:cxnSpMkLst>
            <pc:docMk/>
            <pc:sldMk cId="1571694054" sldId="1818"/>
            <ac:cxnSpMk id="6" creationId="{013A4078-CE3E-4507-8832-231D91E6BE76}"/>
          </ac:cxnSpMkLst>
        </pc:cxnChg>
      </pc:sldChg>
      <pc:sldChg chg="add del">
        <pc:chgData name="Kory Thacher (APPS / POWERSHELL)" userId="995eb0f2-f21c-467c-a947-4f8fc26d0f2e" providerId="ADAL" clId="{2521250D-C9F9-4A75-B280-9040EE825173}" dt="2021-10-01T17:55:29.016" v="4004" actId="47"/>
        <pc:sldMkLst>
          <pc:docMk/>
          <pc:sldMk cId="1856043817" sldId="1818"/>
        </pc:sldMkLst>
      </pc:sldChg>
      <pc:sldChg chg="add del">
        <pc:chgData name="Kory Thacher (APPS / POWERSHELL)" userId="995eb0f2-f21c-467c-a947-4f8fc26d0f2e" providerId="ADAL" clId="{2521250D-C9F9-4A75-B280-9040EE825173}" dt="2021-10-01T17:57:55.383" v="4009"/>
        <pc:sldMkLst>
          <pc:docMk/>
          <pc:sldMk cId="3883744277" sldId="1818"/>
        </pc:sldMkLst>
      </pc:sldChg>
      <pc:sldChg chg="modSp add">
        <pc:chgData name="Kory Thacher (APPS / POWERSHELL)" userId="995eb0f2-f21c-467c-a947-4f8fc26d0f2e" providerId="ADAL" clId="{2521250D-C9F9-4A75-B280-9040EE825173}" dt="2021-10-01T18:11:37.552" v="4152" actId="207"/>
        <pc:sldMkLst>
          <pc:docMk/>
          <pc:sldMk cId="3366374167" sldId="1819"/>
        </pc:sldMkLst>
        <pc:graphicFrameChg chg="mod">
          <ac:chgData name="Kory Thacher (APPS / POWERSHELL)" userId="995eb0f2-f21c-467c-a947-4f8fc26d0f2e" providerId="ADAL" clId="{2521250D-C9F9-4A75-B280-9040EE825173}" dt="2021-10-01T18:11:37.552" v="4152" actId="207"/>
          <ac:graphicFrameMkLst>
            <pc:docMk/>
            <pc:sldMk cId="3366374167" sldId="1819"/>
            <ac:graphicFrameMk id="4" creationId="{ED365544-2E33-4990-88D9-C6A7A62DFB99}"/>
          </ac:graphicFrameMkLst>
        </pc:graphicFrameChg>
      </pc:sldChg>
      <pc:sldChg chg="modSp add del">
        <pc:chgData name="Kory Thacher (APPS / POWERSHELL)" userId="995eb0f2-f21c-467c-a947-4f8fc26d0f2e" providerId="ADAL" clId="{2521250D-C9F9-4A75-B280-9040EE825173}" dt="2021-10-01T18:20:29.479" v="4164" actId="47"/>
        <pc:sldMkLst>
          <pc:docMk/>
          <pc:sldMk cId="356164960" sldId="1820"/>
        </pc:sldMkLst>
        <pc:graphicFrameChg chg="mod">
          <ac:chgData name="Kory Thacher (APPS / POWERSHELL)" userId="995eb0f2-f21c-467c-a947-4f8fc26d0f2e" providerId="ADAL" clId="{2521250D-C9F9-4A75-B280-9040EE825173}" dt="2021-10-01T18:20:21.488" v="4163" actId="20577"/>
          <ac:graphicFrameMkLst>
            <pc:docMk/>
            <pc:sldMk cId="356164960" sldId="1820"/>
            <ac:graphicFrameMk id="3" creationId="{D0E0DB5C-7432-4211-B55B-5D6CE03F2884}"/>
          </ac:graphicFrameMkLst>
        </pc:graphicFrameChg>
      </pc:sldChg>
      <pc:sldChg chg="modSp add mod">
        <pc:chgData name="Kory Thacher (APPS / POWERSHELL)" userId="995eb0f2-f21c-467c-a947-4f8fc26d0f2e" providerId="ADAL" clId="{2521250D-C9F9-4A75-B280-9040EE825173}" dt="2021-10-01T18:31:11.288" v="4266" actId="20577"/>
        <pc:sldMkLst>
          <pc:docMk/>
          <pc:sldMk cId="4275568568" sldId="1820"/>
        </pc:sldMkLst>
        <pc:spChg chg="mod">
          <ac:chgData name="Kory Thacher (APPS / POWERSHELL)" userId="995eb0f2-f21c-467c-a947-4f8fc26d0f2e" providerId="ADAL" clId="{2521250D-C9F9-4A75-B280-9040EE825173}" dt="2021-10-01T18:31:11.288" v="4266" actId="20577"/>
          <ac:spMkLst>
            <pc:docMk/>
            <pc:sldMk cId="4275568568" sldId="1820"/>
            <ac:spMk id="9" creationId="{1C136209-61A5-4A62-B9CB-6A314CA41F6F}"/>
          </ac:spMkLst>
        </pc:spChg>
        <pc:spChg chg="mod">
          <ac:chgData name="Kory Thacher (APPS / POWERSHELL)" userId="995eb0f2-f21c-467c-a947-4f8fc26d0f2e" providerId="ADAL" clId="{2521250D-C9F9-4A75-B280-9040EE825173}" dt="2021-10-01T18:30:47.059" v="4262" actId="20577"/>
          <ac:spMkLst>
            <pc:docMk/>
            <pc:sldMk cId="4275568568" sldId="1820"/>
            <ac:spMk id="10" creationId="{7454ADDF-E757-438E-BAD0-79836EBA7F73}"/>
          </ac:spMkLst>
        </pc:spChg>
        <pc:grpChg chg="mod">
          <ac:chgData name="Kory Thacher (APPS / POWERSHELL)" userId="995eb0f2-f21c-467c-a947-4f8fc26d0f2e" providerId="ADAL" clId="{2521250D-C9F9-4A75-B280-9040EE825173}" dt="2021-10-01T18:28:06.286" v="4252" actId="1076"/>
          <ac:grpSpMkLst>
            <pc:docMk/>
            <pc:sldMk cId="4275568568" sldId="1820"/>
            <ac:grpSpMk id="3" creationId="{23319D4B-850C-4564-922E-647F34228DA4}"/>
          </ac:grpSpMkLst>
        </pc:grpChg>
      </pc:sldChg>
      <pc:sldChg chg="modSp add mod modShow addCm delCm">
        <pc:chgData name="Kory Thacher (APPS / POWERSHELL)" userId="995eb0f2-f21c-467c-a947-4f8fc26d0f2e" providerId="ADAL" clId="{2521250D-C9F9-4A75-B280-9040EE825173}" dt="2021-10-20T17:34:38.410" v="4313"/>
        <pc:sldMkLst>
          <pc:docMk/>
          <pc:sldMk cId="3312098748" sldId="1821"/>
        </pc:sldMkLst>
        <pc:graphicFrameChg chg="mod">
          <ac:chgData name="Kory Thacher (APPS / POWERSHELL)" userId="995eb0f2-f21c-467c-a947-4f8fc26d0f2e" providerId="ADAL" clId="{2521250D-C9F9-4A75-B280-9040EE825173}" dt="2021-10-20T17:33:52.144" v="4310"/>
          <ac:graphicFrameMkLst>
            <pc:docMk/>
            <pc:sldMk cId="3312098748" sldId="1821"/>
            <ac:graphicFrameMk id="3" creationId="{D0E0DB5C-7432-4211-B55B-5D6CE03F2884}"/>
          </ac:graphicFrameMkLst>
        </pc:graphicFrameChg>
      </pc:sldChg>
      <pc:sldChg chg="addSp delSp modSp add mod modClrScheme modShow addCm delCm chgLayout">
        <pc:chgData name="Kory Thacher (APPS / POWERSHELL)" userId="995eb0f2-f21c-467c-a947-4f8fc26d0f2e" providerId="ADAL" clId="{2521250D-C9F9-4A75-B280-9040EE825173}" dt="2021-10-20T18:05:28.845" v="4368" actId="26606"/>
        <pc:sldMkLst>
          <pc:docMk/>
          <pc:sldMk cId="642092182" sldId="1822"/>
        </pc:sldMkLst>
        <pc:spChg chg="mod">
          <ac:chgData name="Kory Thacher (APPS / POWERSHELL)" userId="995eb0f2-f21c-467c-a947-4f8fc26d0f2e" providerId="ADAL" clId="{2521250D-C9F9-4A75-B280-9040EE825173}" dt="2021-10-20T18:05:28.845" v="4368" actId="26606"/>
          <ac:spMkLst>
            <pc:docMk/>
            <pc:sldMk cId="642092182" sldId="1822"/>
            <ac:spMk id="2" creationId="{00000000-0000-0000-0000-000000000000}"/>
          </ac:spMkLst>
        </pc:spChg>
        <pc:spChg chg="del">
          <ac:chgData name="Kory Thacher (APPS / POWERSHELL)" userId="995eb0f2-f21c-467c-a947-4f8fc26d0f2e" providerId="ADAL" clId="{2521250D-C9F9-4A75-B280-9040EE825173}" dt="2021-10-20T17:57:30.820" v="4320" actId="478"/>
          <ac:spMkLst>
            <pc:docMk/>
            <pc:sldMk cId="642092182" sldId="1822"/>
            <ac:spMk id="3" creationId="{5D7DFDC2-9070-4DB0-AF0B-A6F3BCFD7896}"/>
          </ac:spMkLst>
        </pc:spChg>
        <pc:spChg chg="del">
          <ac:chgData name="Kory Thacher (APPS / POWERSHELL)" userId="995eb0f2-f21c-467c-a947-4f8fc26d0f2e" providerId="ADAL" clId="{2521250D-C9F9-4A75-B280-9040EE825173}" dt="2021-10-20T17:57:29.966" v="4319" actId="478"/>
          <ac:spMkLst>
            <pc:docMk/>
            <pc:sldMk cId="642092182" sldId="1822"/>
            <ac:spMk id="4" creationId="{ACF473D4-13E8-498E-9E36-3A53D24E0E49}"/>
          </ac:spMkLst>
        </pc:spChg>
        <pc:spChg chg="del mod">
          <ac:chgData name="Kory Thacher (APPS / POWERSHELL)" userId="995eb0f2-f21c-467c-a947-4f8fc26d0f2e" providerId="ADAL" clId="{2521250D-C9F9-4A75-B280-9040EE825173}" dt="2021-10-20T17:57:32.931" v="4323" actId="478"/>
          <ac:spMkLst>
            <pc:docMk/>
            <pc:sldMk cId="642092182" sldId="1822"/>
            <ac:spMk id="5" creationId="{C5B82EAC-A7C5-4EF4-B27E-3920FA375F5C}"/>
          </ac:spMkLst>
        </pc:spChg>
        <pc:spChg chg="del">
          <ac:chgData name="Kory Thacher (APPS / POWERSHELL)" userId="995eb0f2-f21c-467c-a947-4f8fc26d0f2e" providerId="ADAL" clId="{2521250D-C9F9-4A75-B280-9040EE825173}" dt="2021-10-20T17:57:32.477" v="4322" actId="478"/>
          <ac:spMkLst>
            <pc:docMk/>
            <pc:sldMk cId="642092182" sldId="1822"/>
            <ac:spMk id="6" creationId="{B653218E-2448-4F26-BB6B-0D695142DA52}"/>
          </ac:spMkLst>
        </pc:spChg>
        <pc:spChg chg="del">
          <ac:chgData name="Kory Thacher (APPS / POWERSHELL)" userId="995eb0f2-f21c-467c-a947-4f8fc26d0f2e" providerId="ADAL" clId="{2521250D-C9F9-4A75-B280-9040EE825173}" dt="2021-10-20T17:57:29.966" v="4319" actId="478"/>
          <ac:spMkLst>
            <pc:docMk/>
            <pc:sldMk cId="642092182" sldId="1822"/>
            <ac:spMk id="7" creationId="{7DEF8A5A-37E0-407B-9488-7C6F0FDCFB38}"/>
          </ac:spMkLst>
        </pc:spChg>
        <pc:spChg chg="del">
          <ac:chgData name="Kory Thacher (APPS / POWERSHELL)" userId="995eb0f2-f21c-467c-a947-4f8fc26d0f2e" providerId="ADAL" clId="{2521250D-C9F9-4A75-B280-9040EE825173}" dt="2021-10-20T17:57:29.966" v="4319" actId="478"/>
          <ac:spMkLst>
            <pc:docMk/>
            <pc:sldMk cId="642092182" sldId="1822"/>
            <ac:spMk id="8" creationId="{4BEE56F2-4376-423A-82A2-409545CD4692}"/>
          </ac:spMkLst>
        </pc:spChg>
        <pc:spChg chg="del">
          <ac:chgData name="Kory Thacher (APPS / POWERSHELL)" userId="995eb0f2-f21c-467c-a947-4f8fc26d0f2e" providerId="ADAL" clId="{2521250D-C9F9-4A75-B280-9040EE825173}" dt="2021-10-20T17:57:29.966" v="4319" actId="478"/>
          <ac:spMkLst>
            <pc:docMk/>
            <pc:sldMk cId="642092182" sldId="1822"/>
            <ac:spMk id="22" creationId="{9A6D8951-34AF-4661-AEF6-10BE78E67643}"/>
          </ac:spMkLst>
        </pc:spChg>
        <pc:spChg chg="add del mod">
          <ac:chgData name="Kory Thacher (APPS / POWERSHELL)" userId="995eb0f2-f21c-467c-a947-4f8fc26d0f2e" providerId="ADAL" clId="{2521250D-C9F9-4A75-B280-9040EE825173}" dt="2021-10-20T18:05:11.681" v="4346" actId="26606"/>
          <ac:spMkLst>
            <pc:docMk/>
            <pc:sldMk cId="642092182" sldId="1822"/>
            <ac:spMk id="72" creationId="{B5C122A5-7719-4BD4-950C-370ADBE67DCF}"/>
          </ac:spMkLst>
        </pc:spChg>
        <pc:spChg chg="add del mod">
          <ac:chgData name="Kory Thacher (APPS / POWERSHELL)" userId="995eb0f2-f21c-467c-a947-4f8fc26d0f2e" providerId="ADAL" clId="{2521250D-C9F9-4A75-B280-9040EE825173}" dt="2021-10-20T18:05:13.078" v="4348" actId="26606"/>
          <ac:spMkLst>
            <pc:docMk/>
            <pc:sldMk cId="642092182" sldId="1822"/>
            <ac:spMk id="74" creationId="{C479271C-3B0A-48D2-9D72-B0E64AE3741A}"/>
          </ac:spMkLst>
        </pc:spChg>
        <pc:spChg chg="add del mod">
          <ac:chgData name="Kory Thacher (APPS / POWERSHELL)" userId="995eb0f2-f21c-467c-a947-4f8fc26d0f2e" providerId="ADAL" clId="{2521250D-C9F9-4A75-B280-9040EE825173}" dt="2021-10-20T18:05:13.078" v="4348" actId="26606"/>
          <ac:spMkLst>
            <pc:docMk/>
            <pc:sldMk cId="642092182" sldId="1822"/>
            <ac:spMk id="1029" creationId="{9B368F92-26D5-4240-A592-F7AA0A99B88F}"/>
          </ac:spMkLst>
        </pc:spChg>
        <pc:spChg chg="add del mod">
          <ac:chgData name="Kory Thacher (APPS / POWERSHELL)" userId="995eb0f2-f21c-467c-a947-4f8fc26d0f2e" providerId="ADAL" clId="{2521250D-C9F9-4A75-B280-9040EE825173}" dt="2021-10-20T18:05:13.820" v="4350" actId="26606"/>
          <ac:spMkLst>
            <pc:docMk/>
            <pc:sldMk cId="642092182" sldId="1822"/>
            <ac:spMk id="1031" creationId="{8380B89E-F135-4030-BC5D-52A283B59A50}"/>
          </ac:spMkLst>
        </pc:spChg>
        <pc:spChg chg="add del mod">
          <ac:chgData name="Kory Thacher (APPS / POWERSHELL)" userId="995eb0f2-f21c-467c-a947-4f8fc26d0f2e" providerId="ADAL" clId="{2521250D-C9F9-4A75-B280-9040EE825173}" dt="2021-10-20T18:05:15.029" v="4353" actId="26606"/>
          <ac:spMkLst>
            <pc:docMk/>
            <pc:sldMk cId="642092182" sldId="1822"/>
            <ac:spMk id="1033" creationId="{B5C122A5-7719-4BD4-950C-370ADBE67DCF}"/>
          </ac:spMkLst>
        </pc:spChg>
        <pc:spChg chg="add del mod">
          <ac:chgData name="Kory Thacher (APPS / POWERSHELL)" userId="995eb0f2-f21c-467c-a947-4f8fc26d0f2e" providerId="ADAL" clId="{2521250D-C9F9-4A75-B280-9040EE825173}" dt="2021-10-20T18:05:17.774" v="4355" actId="26606"/>
          <ac:spMkLst>
            <pc:docMk/>
            <pc:sldMk cId="642092182" sldId="1822"/>
            <ac:spMk id="1035" creationId="{8380B89E-F135-4030-BC5D-52A283B59A50}"/>
          </ac:spMkLst>
        </pc:spChg>
        <pc:spChg chg="add del mod">
          <ac:chgData name="Kory Thacher (APPS / POWERSHELL)" userId="995eb0f2-f21c-467c-a947-4f8fc26d0f2e" providerId="ADAL" clId="{2521250D-C9F9-4A75-B280-9040EE825173}" dt="2021-10-20T18:05:19.085" v="4358" actId="26606"/>
          <ac:spMkLst>
            <pc:docMk/>
            <pc:sldMk cId="642092182" sldId="1822"/>
            <ac:spMk id="1037" creationId="{B5C122A5-7719-4BD4-950C-370ADBE67DCF}"/>
          </ac:spMkLst>
        </pc:spChg>
        <pc:spChg chg="add del mod">
          <ac:chgData name="Kory Thacher (APPS / POWERSHELL)" userId="995eb0f2-f21c-467c-a947-4f8fc26d0f2e" providerId="ADAL" clId="{2521250D-C9F9-4A75-B280-9040EE825173}" dt="2021-10-20T18:05:21.762" v="4360" actId="26606"/>
          <ac:spMkLst>
            <pc:docMk/>
            <pc:sldMk cId="642092182" sldId="1822"/>
            <ac:spMk id="1039" creationId="{9B368F92-26D5-4240-A592-F7AA0A99B88F}"/>
          </ac:spMkLst>
        </pc:spChg>
        <pc:spChg chg="add del mod">
          <ac:chgData name="Kory Thacher (APPS / POWERSHELL)" userId="995eb0f2-f21c-467c-a947-4f8fc26d0f2e" providerId="ADAL" clId="{2521250D-C9F9-4A75-B280-9040EE825173}" dt="2021-10-20T18:05:21.762" v="4360" actId="26606"/>
          <ac:spMkLst>
            <pc:docMk/>
            <pc:sldMk cId="642092182" sldId="1822"/>
            <ac:spMk id="1040" creationId="{C479271C-3B0A-48D2-9D72-B0E64AE3741A}"/>
          </ac:spMkLst>
        </pc:spChg>
        <pc:spChg chg="add del mod">
          <ac:chgData name="Kory Thacher (APPS / POWERSHELL)" userId="995eb0f2-f21c-467c-a947-4f8fc26d0f2e" providerId="ADAL" clId="{2521250D-C9F9-4A75-B280-9040EE825173}" dt="2021-10-20T18:05:26.941" v="4363" actId="26606"/>
          <ac:spMkLst>
            <pc:docMk/>
            <pc:sldMk cId="642092182" sldId="1822"/>
            <ac:spMk id="1042" creationId="{B5C122A5-7719-4BD4-950C-370ADBE67DCF}"/>
          </ac:spMkLst>
        </pc:spChg>
        <pc:picChg chg="del">
          <ac:chgData name="Kory Thacher (APPS / POWERSHELL)" userId="995eb0f2-f21c-467c-a947-4f8fc26d0f2e" providerId="ADAL" clId="{2521250D-C9F9-4A75-B280-9040EE825173}" dt="2021-10-20T17:57:29.966" v="4319" actId="478"/>
          <ac:picMkLst>
            <pc:docMk/>
            <pc:sldMk cId="642092182" sldId="1822"/>
            <ac:picMk id="73" creationId="{C92004FD-9ED3-437B-AE80-7F36FB831685}"/>
          </ac:picMkLst>
        </pc:picChg>
        <pc:picChg chg="del">
          <ac:chgData name="Kory Thacher (APPS / POWERSHELL)" userId="995eb0f2-f21c-467c-a947-4f8fc26d0f2e" providerId="ADAL" clId="{2521250D-C9F9-4A75-B280-9040EE825173}" dt="2021-10-20T17:57:29.966" v="4319" actId="478"/>
          <ac:picMkLst>
            <pc:docMk/>
            <pc:sldMk cId="642092182" sldId="1822"/>
            <ac:picMk id="75" creationId="{0BB412C6-1E5C-4271-9B31-B9B4A17A4725}"/>
          </ac:picMkLst>
        </pc:picChg>
        <pc:picChg chg="add del">
          <ac:chgData name="Kory Thacher (APPS / POWERSHELL)" userId="995eb0f2-f21c-467c-a947-4f8fc26d0f2e" providerId="ADAL" clId="{2521250D-C9F9-4A75-B280-9040EE825173}" dt="2021-10-20T17:57:27.103" v="4318"/>
          <ac:picMkLst>
            <pc:docMk/>
            <pc:sldMk cId="642092182" sldId="1822"/>
            <ac:picMk id="1025" creationId="{B1D69ACC-395D-42B2-A654-D06972209C93}"/>
          </ac:picMkLst>
        </pc:picChg>
        <pc:picChg chg="add del mod">
          <ac:chgData name="Kory Thacher (APPS / POWERSHELL)" userId="995eb0f2-f21c-467c-a947-4f8fc26d0f2e" providerId="ADAL" clId="{2521250D-C9F9-4A75-B280-9040EE825173}" dt="2021-10-20T18:01:34.092" v="4341" actId="478"/>
          <ac:picMkLst>
            <pc:docMk/>
            <pc:sldMk cId="642092182" sldId="1822"/>
            <ac:picMk id="1026" creationId="{63561CE3-A96C-450A-B2B8-265E3EEB830B}"/>
          </ac:picMkLst>
        </pc:picChg>
        <pc:picChg chg="add mod">
          <ac:chgData name="Kory Thacher (APPS / POWERSHELL)" userId="995eb0f2-f21c-467c-a947-4f8fc26d0f2e" providerId="ADAL" clId="{2521250D-C9F9-4A75-B280-9040EE825173}" dt="2021-10-20T18:05:28.845" v="4368" actId="26606"/>
          <ac:picMkLst>
            <pc:docMk/>
            <pc:sldMk cId="642092182" sldId="1822"/>
            <ac:picMk id="1027" creationId="{960566B1-0EC8-4BA3-873F-BD1C9C1FF0BE}"/>
          </ac:picMkLst>
        </pc:picChg>
        <pc:cxnChg chg="del mod">
          <ac:chgData name="Kory Thacher (APPS / POWERSHELL)" userId="995eb0f2-f21c-467c-a947-4f8fc26d0f2e" providerId="ADAL" clId="{2521250D-C9F9-4A75-B280-9040EE825173}" dt="2021-10-20T17:57:29.966" v="4319" actId="478"/>
          <ac:cxnSpMkLst>
            <pc:docMk/>
            <pc:sldMk cId="642092182" sldId="1822"/>
            <ac:cxnSpMk id="19" creationId="{6A68AA3C-E71E-4E28-8FE6-35805C6B4E5A}"/>
          </ac:cxnSpMkLst>
        </pc:cxnChg>
        <pc:cxnChg chg="del mod">
          <ac:chgData name="Kory Thacher (APPS / POWERSHELL)" userId="995eb0f2-f21c-467c-a947-4f8fc26d0f2e" providerId="ADAL" clId="{2521250D-C9F9-4A75-B280-9040EE825173}" dt="2021-10-20T17:57:29.966" v="4319" actId="478"/>
          <ac:cxnSpMkLst>
            <pc:docMk/>
            <pc:sldMk cId="642092182" sldId="1822"/>
            <ac:cxnSpMk id="21" creationId="{D040CE5A-02DE-4D1A-A13B-06F7398182FB}"/>
          </ac:cxnSpMkLst>
        </pc:cxnChg>
        <pc:cxnChg chg="del mod">
          <ac:chgData name="Kory Thacher (APPS / POWERSHELL)" userId="995eb0f2-f21c-467c-a947-4f8fc26d0f2e" providerId="ADAL" clId="{2521250D-C9F9-4A75-B280-9040EE825173}" dt="2021-10-20T17:57:29.966" v="4319" actId="478"/>
          <ac:cxnSpMkLst>
            <pc:docMk/>
            <pc:sldMk cId="642092182" sldId="1822"/>
            <ac:cxnSpMk id="51" creationId="{D6FD677E-4549-4362-995C-3662A5E3ACED}"/>
          </ac:cxnSpMkLst>
        </pc:cxnChg>
        <pc:cxnChg chg="del mod">
          <ac:chgData name="Kory Thacher (APPS / POWERSHELL)" userId="995eb0f2-f21c-467c-a947-4f8fc26d0f2e" providerId="ADAL" clId="{2521250D-C9F9-4A75-B280-9040EE825173}" dt="2021-10-20T17:57:29.966" v="4319" actId="478"/>
          <ac:cxnSpMkLst>
            <pc:docMk/>
            <pc:sldMk cId="642092182" sldId="1822"/>
            <ac:cxnSpMk id="53" creationId="{A2FE32EC-9AD6-4532-95D7-0E91745560A7}"/>
          </ac:cxnSpMkLst>
        </pc:cxnChg>
        <pc:cxnChg chg="del mod">
          <ac:chgData name="Kory Thacher (APPS / POWERSHELL)" userId="995eb0f2-f21c-467c-a947-4f8fc26d0f2e" providerId="ADAL" clId="{2521250D-C9F9-4A75-B280-9040EE825173}" dt="2021-10-20T17:57:29.966" v="4319" actId="478"/>
          <ac:cxnSpMkLst>
            <pc:docMk/>
            <pc:sldMk cId="642092182" sldId="1822"/>
            <ac:cxnSpMk id="55" creationId="{86C16418-4C60-4BD6-B185-75CB4BE395EF}"/>
          </ac:cxnSpMkLst>
        </pc:cxnChg>
        <pc:cxnChg chg="del mod">
          <ac:chgData name="Kory Thacher (APPS / POWERSHELL)" userId="995eb0f2-f21c-467c-a947-4f8fc26d0f2e" providerId="ADAL" clId="{2521250D-C9F9-4A75-B280-9040EE825173}" dt="2021-10-20T17:57:29.966" v="4319" actId="478"/>
          <ac:cxnSpMkLst>
            <pc:docMk/>
            <pc:sldMk cId="642092182" sldId="1822"/>
            <ac:cxnSpMk id="57" creationId="{CA7D0A82-D048-4983-841A-EFEB23C8892D}"/>
          </ac:cxnSpMkLst>
        </pc:cxnChg>
      </pc:sldChg>
      <pc:sldChg chg="modSp add mod ord modShow addCm delCm">
        <pc:chgData name="Kory Thacher (APPS / POWERSHELL)" userId="995eb0f2-f21c-467c-a947-4f8fc26d0f2e" providerId="ADAL" clId="{2521250D-C9F9-4A75-B280-9040EE825173}" dt="2021-10-20T18:12:44.217" v="4537" actId="20577"/>
        <pc:sldMkLst>
          <pc:docMk/>
          <pc:sldMk cId="349963606" sldId="1823"/>
        </pc:sldMkLst>
        <pc:graphicFrameChg chg="mod">
          <ac:chgData name="Kory Thacher (APPS / POWERSHELL)" userId="995eb0f2-f21c-467c-a947-4f8fc26d0f2e" providerId="ADAL" clId="{2521250D-C9F9-4A75-B280-9040EE825173}" dt="2021-10-20T18:12:44.217" v="4537" actId="20577"/>
          <ac:graphicFrameMkLst>
            <pc:docMk/>
            <pc:sldMk cId="349963606" sldId="1823"/>
            <ac:graphicFrameMk id="3" creationId="{D0E0DB5C-7432-4211-B55B-5D6CE03F2884}"/>
          </ac:graphicFrameMkLst>
        </pc:graphicFrameChg>
      </pc:sldChg>
      <pc:sldChg chg="modSp add mod modShow addCm">
        <pc:chgData name="Kory Thacher (APPS / POWERSHELL)" userId="995eb0f2-f21c-467c-a947-4f8fc26d0f2e" providerId="ADAL" clId="{2521250D-C9F9-4A75-B280-9040EE825173}" dt="2021-10-20T18:18:39.102" v="4806"/>
        <pc:sldMkLst>
          <pc:docMk/>
          <pc:sldMk cId="3795852229" sldId="1824"/>
        </pc:sldMkLst>
        <pc:spChg chg="mod">
          <ac:chgData name="Kory Thacher (APPS / POWERSHELL)" userId="995eb0f2-f21c-467c-a947-4f8fc26d0f2e" providerId="ADAL" clId="{2521250D-C9F9-4A75-B280-9040EE825173}" dt="2021-10-20T18:17:12.703" v="4784" actId="20577"/>
          <ac:spMkLst>
            <pc:docMk/>
            <pc:sldMk cId="3795852229" sldId="1824"/>
            <ac:spMk id="2" creationId="{00000000-0000-0000-0000-000000000000}"/>
          </ac:spMkLst>
        </pc:spChg>
        <pc:graphicFrameChg chg="mod">
          <ac:chgData name="Kory Thacher (APPS / POWERSHELL)" userId="995eb0f2-f21c-467c-a947-4f8fc26d0f2e" providerId="ADAL" clId="{2521250D-C9F9-4A75-B280-9040EE825173}" dt="2021-10-20T18:18:19.792" v="4803" actId="12100"/>
          <ac:graphicFrameMkLst>
            <pc:docMk/>
            <pc:sldMk cId="3795852229" sldId="1824"/>
            <ac:graphicFrameMk id="3" creationId="{D0E0DB5C-7432-4211-B55B-5D6CE03F2884}"/>
          </ac:graphicFrameMkLst>
        </pc:graphicFrameChg>
      </pc:sldChg>
      <pc:sldChg chg="add del">
        <pc:chgData name="Kory Thacher (APPS / POWERSHELL)" userId="995eb0f2-f21c-467c-a947-4f8fc26d0f2e" providerId="ADAL" clId="{2521250D-C9F9-4A75-B280-9040EE825173}" dt="2021-10-20T18:18:26.399" v="4805" actId="47"/>
        <pc:sldMkLst>
          <pc:docMk/>
          <pc:sldMk cId="3426611633" sldId="1825"/>
        </pc:sldMkLst>
      </pc:sldChg>
      <pc:sldChg chg="modSp add">
        <pc:chgData name="Kory Thacher (APPS / POWERSHELL)" userId="995eb0f2-f21c-467c-a947-4f8fc26d0f2e" providerId="ADAL" clId="{2521250D-C9F9-4A75-B280-9040EE825173}" dt="2021-10-20T18:20:24.792" v="4835" actId="113"/>
        <pc:sldMkLst>
          <pc:docMk/>
          <pc:sldMk cId="22573044" sldId="1826"/>
        </pc:sldMkLst>
        <pc:graphicFrameChg chg="mod">
          <ac:chgData name="Kory Thacher (APPS / POWERSHELL)" userId="995eb0f2-f21c-467c-a947-4f8fc26d0f2e" providerId="ADAL" clId="{2521250D-C9F9-4A75-B280-9040EE825173}" dt="2021-10-20T18:20:24.792" v="4835" actId="113"/>
          <ac:graphicFrameMkLst>
            <pc:docMk/>
            <pc:sldMk cId="22573044" sldId="1826"/>
            <ac:graphicFrameMk id="3" creationId="{D0E0DB5C-7432-4211-B55B-5D6CE03F2884}"/>
          </ac:graphicFrameMkLst>
        </pc:graphicFrameChg>
      </pc:sldChg>
      <pc:sldChg chg="addSp modSp add mod ord">
        <pc:chgData name="Kory Thacher (APPS / POWERSHELL)" userId="995eb0f2-f21c-467c-a947-4f8fc26d0f2e" providerId="ADAL" clId="{2521250D-C9F9-4A75-B280-9040EE825173}" dt="2021-10-20T19:01:12.002" v="4854"/>
        <pc:sldMkLst>
          <pc:docMk/>
          <pc:sldMk cId="311752582" sldId="1827"/>
        </pc:sldMkLst>
        <pc:spChg chg="add mod">
          <ac:chgData name="Kory Thacher (APPS / POWERSHELL)" userId="995eb0f2-f21c-467c-a947-4f8fc26d0f2e" providerId="ADAL" clId="{2521250D-C9F9-4A75-B280-9040EE825173}" dt="2021-10-20T19:00:47.239" v="4850" actId="14100"/>
          <ac:spMkLst>
            <pc:docMk/>
            <pc:sldMk cId="311752582" sldId="1827"/>
            <ac:spMk id="4" creationId="{47C64561-4F64-42EB-B3D5-1959931B41FF}"/>
          </ac:spMkLst>
        </pc:spChg>
        <pc:graphicFrameChg chg="mod">
          <ac:chgData name="Kory Thacher (APPS / POWERSHELL)" userId="995eb0f2-f21c-467c-a947-4f8fc26d0f2e" providerId="ADAL" clId="{2521250D-C9F9-4A75-B280-9040EE825173}" dt="2021-10-20T19:01:01.087" v="4852" actId="255"/>
          <ac:graphicFrameMkLst>
            <pc:docMk/>
            <pc:sldMk cId="311752582" sldId="1827"/>
            <ac:graphicFrameMk id="3" creationId="{D0E0DB5C-7432-4211-B55B-5D6CE03F2884}"/>
          </ac:graphicFrameMkLst>
        </pc:graphicFrameChg>
      </pc:sldChg>
      <pc:sldChg chg="modSp add del mod">
        <pc:chgData name="Kory Thacher (APPS / POWERSHELL)" userId="995eb0f2-f21c-467c-a947-4f8fc26d0f2e" providerId="ADAL" clId="{2521250D-C9F9-4A75-B280-9040EE825173}" dt="2021-10-20T19:00:16.397" v="4845"/>
        <pc:sldMkLst>
          <pc:docMk/>
          <pc:sldMk cId="3570805778" sldId="1828"/>
        </pc:sldMkLst>
        <pc:spChg chg="mod">
          <ac:chgData name="Kory Thacher (APPS / POWERSHELL)" userId="995eb0f2-f21c-467c-a947-4f8fc26d0f2e" providerId="ADAL" clId="{2521250D-C9F9-4A75-B280-9040EE825173}" dt="2021-10-20T19:00:15.804" v="4844" actId="14100"/>
          <ac:spMkLst>
            <pc:docMk/>
            <pc:sldMk cId="3570805778" sldId="1828"/>
            <ac:spMk id="9" creationId="{C06843CA-929D-4337-85FD-CE64A50D9286}"/>
          </ac:spMkLst>
        </pc:spChg>
      </pc:sldChg>
      <pc:sldChg chg="modSp add mod">
        <pc:chgData name="Kory Thacher (APPS / POWERSHELL)" userId="995eb0f2-f21c-467c-a947-4f8fc26d0f2e" providerId="ADAL" clId="{2521250D-C9F9-4A75-B280-9040EE825173}" dt="2021-10-20T19:04:12.434" v="4882"/>
        <pc:sldMkLst>
          <pc:docMk/>
          <pc:sldMk cId="4032653899" sldId="1828"/>
        </pc:sldMkLst>
        <pc:graphicFrameChg chg="mod modGraphic">
          <ac:chgData name="Kory Thacher (APPS / POWERSHELL)" userId="995eb0f2-f21c-467c-a947-4f8fc26d0f2e" providerId="ADAL" clId="{2521250D-C9F9-4A75-B280-9040EE825173}" dt="2021-10-20T19:04:12.434" v="4882"/>
          <ac:graphicFrameMkLst>
            <pc:docMk/>
            <pc:sldMk cId="4032653899" sldId="1828"/>
            <ac:graphicFrameMk id="3" creationId="{D0E0DB5C-7432-4211-B55B-5D6CE03F2884}"/>
          </ac:graphicFrameMkLst>
        </pc:graphicFrameChg>
      </pc:sldChg>
      <pc:sldChg chg="modSp add del mod">
        <pc:chgData name="Kory Thacher (APPS / POWERSHELL)" userId="995eb0f2-f21c-467c-a947-4f8fc26d0f2e" providerId="ADAL" clId="{2521250D-C9F9-4A75-B280-9040EE825173}" dt="2021-10-20T19:00:08.878" v="4841"/>
        <pc:sldMkLst>
          <pc:docMk/>
          <pc:sldMk cId="4272243911" sldId="1828"/>
        </pc:sldMkLst>
        <pc:spChg chg="mod">
          <ac:chgData name="Kory Thacher (APPS / POWERSHELL)" userId="995eb0f2-f21c-467c-a947-4f8fc26d0f2e" providerId="ADAL" clId="{2521250D-C9F9-4A75-B280-9040EE825173}" dt="2021-10-20T19:00:07.804" v="4840" actId="14100"/>
          <ac:spMkLst>
            <pc:docMk/>
            <pc:sldMk cId="4272243911" sldId="1828"/>
            <ac:spMk id="9" creationId="{C06843CA-929D-4337-85FD-CE64A50D9286}"/>
          </ac:spMkLst>
        </pc:spChg>
      </pc:sldChg>
    </pc:docChg>
  </pc:docChgLst>
  <pc:docChgLst>
    <pc:chgData name="Tony Radkiewicz" userId="9832534a-7e4f-4058-9c41-7f4a5b855c95" providerId="ADAL" clId="{05CF7351-5C63-4AFE-A58F-45E468E20C84}"/>
    <pc:docChg chg="">
      <pc:chgData name="Tony Radkiewicz" userId="9832534a-7e4f-4058-9c41-7f4a5b855c95" providerId="ADAL" clId="{05CF7351-5C63-4AFE-A58F-45E468E20C84}" dt="2022-06-28T16:22:03.548" v="8"/>
      <pc:docMkLst>
        <pc:docMk/>
      </pc:docMkLst>
      <pc:sldChg chg="modCm">
        <pc:chgData name="Tony Radkiewicz" userId="9832534a-7e4f-4058-9c41-7f4a5b855c95" providerId="ADAL" clId="{05CF7351-5C63-4AFE-A58F-45E468E20C84}" dt="2022-06-28T16:19:31.954" v="5"/>
        <pc:sldMkLst>
          <pc:docMk/>
          <pc:sldMk cId="2114614514" sldId="305"/>
        </pc:sldMkLst>
      </pc:sldChg>
      <pc:sldChg chg="modCm">
        <pc:chgData name="Tony Radkiewicz" userId="9832534a-7e4f-4058-9c41-7f4a5b855c95" providerId="ADAL" clId="{05CF7351-5C63-4AFE-A58F-45E468E20C84}" dt="2022-06-28T16:21:48.863" v="7"/>
        <pc:sldMkLst>
          <pc:docMk/>
          <pc:sldMk cId="3466582334" sldId="317"/>
        </pc:sldMkLst>
      </pc:sldChg>
      <pc:sldChg chg="addCm">
        <pc:chgData name="Tony Radkiewicz" userId="9832534a-7e4f-4058-9c41-7f4a5b855c95" providerId="ADAL" clId="{05CF7351-5C63-4AFE-A58F-45E468E20C84}" dt="2022-06-28T16:20:46.628" v="6"/>
        <pc:sldMkLst>
          <pc:docMk/>
          <pc:sldMk cId="1967107824" sldId="1743"/>
        </pc:sldMkLst>
      </pc:sldChg>
      <pc:sldChg chg="addCm">
        <pc:chgData name="Tony Radkiewicz" userId="9832534a-7e4f-4058-9c41-7f4a5b855c95" providerId="ADAL" clId="{05CF7351-5C63-4AFE-A58F-45E468E20C84}" dt="2022-06-28T16:22:03.548" v="8"/>
        <pc:sldMkLst>
          <pc:docMk/>
          <pc:sldMk cId="1748862827" sldId="1750"/>
        </pc:sldMkLst>
      </pc:sldChg>
      <pc:sldChg chg="addCm">
        <pc:chgData name="Tony Radkiewicz" userId="9832534a-7e4f-4058-9c41-7f4a5b855c95" providerId="ADAL" clId="{05CF7351-5C63-4AFE-A58F-45E468E20C84}" dt="2022-06-28T16:17:02.611" v="1"/>
        <pc:sldMkLst>
          <pc:docMk/>
          <pc:sldMk cId="941779801" sldId="1782"/>
        </pc:sldMkLst>
      </pc:sldChg>
      <pc:sldChg chg="addCm">
        <pc:chgData name="Tony Radkiewicz" userId="9832534a-7e4f-4058-9c41-7f4a5b855c95" providerId="ADAL" clId="{05CF7351-5C63-4AFE-A58F-45E468E20C84}" dt="2022-06-28T16:16:25.707" v="0"/>
        <pc:sldMkLst>
          <pc:docMk/>
          <pc:sldMk cId="816355800" sldId="1797"/>
        </pc:sldMkLst>
      </pc:sldChg>
      <pc:sldChg chg="addCm">
        <pc:chgData name="Tony Radkiewicz" userId="9832534a-7e4f-4058-9c41-7f4a5b855c95" providerId="ADAL" clId="{05CF7351-5C63-4AFE-A58F-45E468E20C84}" dt="2022-06-28T16:17:24.975" v="2"/>
        <pc:sldMkLst>
          <pc:docMk/>
          <pc:sldMk cId="1501351407" sldId="1807"/>
        </pc:sldMkLst>
      </pc:sldChg>
      <pc:sldChg chg="addCm modCm">
        <pc:chgData name="Tony Radkiewicz" userId="9832534a-7e4f-4058-9c41-7f4a5b855c95" providerId="ADAL" clId="{05CF7351-5C63-4AFE-A58F-45E468E20C84}" dt="2022-06-28T16:18:48.498" v="4"/>
        <pc:sldMkLst>
          <pc:docMk/>
          <pc:sldMk cId="636856898" sldId="1808"/>
        </pc:sldMkLst>
      </pc:sldChg>
    </pc:docChg>
  </pc:docChgLst>
</pc:chgInfo>
</file>

<file path=ppt/diagrams/_rels/data19.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19.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C39980-1D75-474E-A42A-A9861B11D20C}" type="doc">
      <dgm:prSet loTypeId="urn:microsoft.com/office/officeart/2005/8/layout/hierarchy3" loCatId="list" qsTypeId="urn:microsoft.com/office/officeart/2005/8/quickstyle/simple1" qsCatId="simple" csTypeId="urn:microsoft.com/office/officeart/2005/8/colors/accent2_2" csCatId="accent2" phldr="1"/>
      <dgm:spPr/>
      <dgm:t>
        <a:bodyPr/>
        <a:lstStyle/>
        <a:p>
          <a:endParaRPr lang="en-US"/>
        </a:p>
      </dgm:t>
    </dgm:pt>
    <dgm:pt modelId="{F4033D1E-B8CF-4F98-9E9E-9B33554D8A0A}">
      <dgm:prSet custT="1">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t>
        <a:bodyPr/>
        <a:lstStyle/>
        <a:p>
          <a:r>
            <a:rPr lang="en-US" sz="2000"/>
            <a:t>Error</a:t>
          </a:r>
        </a:p>
      </dgm:t>
    </dgm:pt>
    <dgm:pt modelId="{6AE9E714-C767-4434-9A0D-98B8CCC77E74}" type="parTrans" cxnId="{B380F8C4-2DFC-4C0B-B7D3-3536366AFD7B}">
      <dgm:prSet/>
      <dgm:spPr/>
      <dgm:t>
        <a:bodyPr/>
        <a:lstStyle/>
        <a:p>
          <a:endParaRPr lang="en-US"/>
        </a:p>
      </dgm:t>
    </dgm:pt>
    <dgm:pt modelId="{34B7FBDC-421E-4B3C-BAFA-FF51458FE7FE}" type="sibTrans" cxnId="{B380F8C4-2DFC-4C0B-B7D3-3536366AFD7B}">
      <dgm:prSet/>
      <dgm:spPr/>
      <dgm:t>
        <a:bodyPr/>
        <a:lstStyle/>
        <a:p>
          <a:endParaRPr lang="en-US"/>
        </a:p>
      </dgm:t>
    </dgm:pt>
    <dgm:pt modelId="{6617B47E-ED9D-4178-8A54-316D059038DC}">
      <dgm:prSet custT="1">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t>
        <a:bodyPr/>
        <a:lstStyle/>
        <a:p>
          <a:r>
            <a:rPr lang="en-US" sz="2000"/>
            <a:t>Debug</a:t>
          </a:r>
        </a:p>
      </dgm:t>
    </dgm:pt>
    <dgm:pt modelId="{12A1E3CF-1DBC-42B7-9168-E1B6001BB546}" type="parTrans" cxnId="{4776090D-DC60-4765-AD3B-0730660B07CF}">
      <dgm:prSet/>
      <dgm:spPr/>
      <dgm:t>
        <a:bodyPr/>
        <a:lstStyle/>
        <a:p>
          <a:endParaRPr lang="en-US"/>
        </a:p>
      </dgm:t>
    </dgm:pt>
    <dgm:pt modelId="{10AD48BC-8B90-4706-B329-E967A9267FB3}" type="sibTrans" cxnId="{4776090D-DC60-4765-AD3B-0730660B07CF}">
      <dgm:prSet/>
      <dgm:spPr/>
      <dgm:t>
        <a:bodyPr/>
        <a:lstStyle/>
        <a:p>
          <a:endParaRPr lang="en-US"/>
        </a:p>
      </dgm:t>
    </dgm:pt>
    <dgm:pt modelId="{EABE324E-A09A-4BBF-9ADF-C8A47AA99759}">
      <dgm:prSet custT="1">
        <dgm:style>
          <a:lnRef idx="0">
            <a:scrgbClr r="0" g="0" b="0"/>
          </a:lnRef>
          <a:fillRef idx="0">
            <a:scrgbClr r="0" g="0" b="0"/>
          </a:fillRef>
          <a:effectRef idx="0">
            <a:scrgbClr r="0" g="0" b="0"/>
          </a:effectRef>
          <a:fontRef idx="minor">
            <a:schemeClr val="lt1"/>
          </a:fontRef>
        </dgm:style>
      </dgm:prSet>
      <dgm:spPr>
        <a:solidFill>
          <a:schemeClr val="accent5">
            <a:alpha val="50000"/>
          </a:schemeClr>
        </a:solidFill>
        <a:ln>
          <a:noFill/>
        </a:ln>
      </dgm:spPr>
      <dgm:t>
        <a:bodyPr/>
        <a:lstStyle/>
        <a:p>
          <a:r>
            <a:rPr lang="en-US" sz="2000"/>
            <a:t>Write-Error</a:t>
          </a:r>
        </a:p>
      </dgm:t>
    </dgm:pt>
    <dgm:pt modelId="{76309884-53CE-4C3D-AEA5-5C568E38BC47}" type="parTrans" cxnId="{A5DB6DC1-8D85-42A4-B919-0FEA5814A20D}">
      <dgm:prSet/>
      <dgm:spPr/>
      <dgm:t>
        <a:bodyPr/>
        <a:lstStyle/>
        <a:p>
          <a:endParaRPr lang="en-US"/>
        </a:p>
      </dgm:t>
    </dgm:pt>
    <dgm:pt modelId="{9A7418BD-1044-48C8-AF35-9BD00191DAE7}" type="sibTrans" cxnId="{A5DB6DC1-8D85-42A4-B919-0FEA5814A20D}">
      <dgm:prSet/>
      <dgm:spPr/>
      <dgm:t>
        <a:bodyPr/>
        <a:lstStyle/>
        <a:p>
          <a:endParaRPr lang="en-US"/>
        </a:p>
      </dgm:t>
    </dgm:pt>
    <dgm:pt modelId="{AFF64774-9327-42A5-AB12-D8810B96048A}">
      <dgm:prSet custT="1">
        <dgm:style>
          <a:lnRef idx="0">
            <a:scrgbClr r="0" g="0" b="0"/>
          </a:lnRef>
          <a:fillRef idx="0">
            <a:scrgbClr r="0" g="0" b="0"/>
          </a:fillRef>
          <a:effectRef idx="0">
            <a:scrgbClr r="0" g="0" b="0"/>
          </a:effectRef>
          <a:fontRef idx="minor">
            <a:schemeClr val="lt1"/>
          </a:fontRef>
        </dgm:style>
      </dgm:prSet>
      <dgm:spPr>
        <a:solidFill>
          <a:schemeClr val="accent5">
            <a:alpha val="50000"/>
          </a:schemeClr>
        </a:solidFill>
        <a:ln>
          <a:noFill/>
        </a:ln>
      </dgm:spPr>
      <dgm:t>
        <a:bodyPr/>
        <a:lstStyle/>
        <a:p>
          <a:r>
            <a:rPr lang="en-US" sz="2000"/>
            <a:t>Write-Debug</a:t>
          </a:r>
        </a:p>
      </dgm:t>
    </dgm:pt>
    <dgm:pt modelId="{C85E14D7-67A5-45D3-A40A-3C048A05CDC1}" type="parTrans" cxnId="{39C9CB82-2019-4544-916B-1B66AD511072}">
      <dgm:prSet/>
      <dgm:spPr/>
      <dgm:t>
        <a:bodyPr/>
        <a:lstStyle/>
        <a:p>
          <a:endParaRPr lang="en-US"/>
        </a:p>
      </dgm:t>
    </dgm:pt>
    <dgm:pt modelId="{F0326528-93BF-4EFA-9AF7-5DD9B3CA0696}" type="sibTrans" cxnId="{39C9CB82-2019-4544-916B-1B66AD511072}">
      <dgm:prSet/>
      <dgm:spPr/>
      <dgm:t>
        <a:bodyPr/>
        <a:lstStyle/>
        <a:p>
          <a:endParaRPr lang="en-US"/>
        </a:p>
      </dgm:t>
    </dgm:pt>
    <dgm:pt modelId="{92AFF0F8-8592-4275-ACC4-B2E362508A3B}">
      <dgm:prSet custT="1"/>
      <dgm:spPr/>
      <dgm:t>
        <a:bodyPr/>
        <a:lstStyle/>
        <a:p>
          <a:r>
            <a:rPr lang="en-US" sz="2000"/>
            <a:t>Streams can be </a:t>
          </a:r>
          <a:r>
            <a:rPr lang="en-US" sz="2000" b="1"/>
            <a:t>redirected</a:t>
          </a:r>
          <a:r>
            <a:rPr lang="en-US" sz="2000"/>
            <a:t> to other streams or </a:t>
          </a:r>
          <a:r>
            <a:rPr lang="en-US" sz="2000" b="1"/>
            <a:t>files</a:t>
          </a:r>
          <a:br>
            <a:rPr lang="en-US" sz="2000"/>
          </a:br>
          <a:r>
            <a:rPr lang="en-US" sz="2000"/>
            <a:t>(uncommon)</a:t>
          </a:r>
        </a:p>
      </dgm:t>
    </dgm:pt>
    <dgm:pt modelId="{F07E8B9E-5635-43F5-BF24-88F8E1E34D97}" type="parTrans" cxnId="{67E805F1-3919-4299-84C9-86F5A684004C}">
      <dgm:prSet/>
      <dgm:spPr/>
      <dgm:t>
        <a:bodyPr/>
        <a:lstStyle/>
        <a:p>
          <a:endParaRPr lang="en-US"/>
        </a:p>
      </dgm:t>
    </dgm:pt>
    <dgm:pt modelId="{B18BAA35-E56A-4B89-9868-B76513F737A2}" type="sibTrans" cxnId="{67E805F1-3919-4299-84C9-86F5A684004C}">
      <dgm:prSet/>
      <dgm:spPr/>
      <dgm:t>
        <a:bodyPr/>
        <a:lstStyle/>
        <a:p>
          <a:endParaRPr lang="en-US"/>
        </a:p>
      </dgm:t>
    </dgm:pt>
    <dgm:pt modelId="{1880EAC7-B2C1-48F0-8461-59DB63FAD393}">
      <dgm:prSet custT="1">
        <dgm:style>
          <a:lnRef idx="0">
            <a:scrgbClr r="0" g="0" b="0"/>
          </a:lnRef>
          <a:fillRef idx="0">
            <a:scrgbClr r="0" g="0" b="0"/>
          </a:fillRef>
          <a:effectRef idx="0">
            <a:scrgbClr r="0" g="0" b="0"/>
          </a:effectRef>
          <a:fontRef idx="minor">
            <a:schemeClr val="lt1"/>
          </a:fontRef>
        </dgm:style>
      </dgm:prSet>
      <dgm:spPr>
        <a:solidFill>
          <a:schemeClr val="accent4">
            <a:alpha val="50000"/>
          </a:schemeClr>
        </a:solidFill>
        <a:ln>
          <a:noFill/>
        </a:ln>
      </dgm:spPr>
      <dgm:t>
        <a:bodyPr/>
        <a:lstStyle/>
        <a:p>
          <a:r>
            <a:rPr lang="en-US" sz="2000" b="1"/>
            <a:t>&gt;&amp;1</a:t>
          </a:r>
        </a:p>
      </dgm:t>
    </dgm:pt>
    <dgm:pt modelId="{7D17CE76-FDC5-4122-97D7-2CB5BB51D49A}" type="parTrans" cxnId="{D41BFD3B-8259-4184-AB6E-8C4D2001D4BB}">
      <dgm:prSet/>
      <dgm:spPr/>
      <dgm:t>
        <a:bodyPr/>
        <a:lstStyle/>
        <a:p>
          <a:endParaRPr lang="en-US"/>
        </a:p>
      </dgm:t>
    </dgm:pt>
    <dgm:pt modelId="{06456FDE-C3DE-4429-A5AF-50DB083B8A26}" type="sibTrans" cxnId="{D41BFD3B-8259-4184-AB6E-8C4D2001D4BB}">
      <dgm:prSet/>
      <dgm:spPr/>
      <dgm:t>
        <a:bodyPr/>
        <a:lstStyle/>
        <a:p>
          <a:endParaRPr lang="en-US"/>
        </a:p>
      </dgm:t>
    </dgm:pt>
    <dgm:pt modelId="{83EF3DE1-57B7-420B-A32D-69831DB3AB75}">
      <dgm:prSet custT="1"/>
      <dgm:spPr/>
      <dgm:t>
        <a:bodyPr/>
        <a:lstStyle/>
        <a:p>
          <a:r>
            <a:rPr lang="en-US" sz="2000"/>
            <a:t>Different </a:t>
          </a:r>
          <a:r>
            <a:rPr lang="en-US" sz="2000" b="1"/>
            <a:t>categories</a:t>
          </a:r>
          <a:r>
            <a:rPr lang="en-US" sz="2000"/>
            <a:t> of </a:t>
          </a:r>
          <a:r>
            <a:rPr lang="en-US" sz="2000" b="1"/>
            <a:t>data</a:t>
          </a:r>
          <a:r>
            <a:rPr lang="en-US" sz="2000"/>
            <a:t> are kept </a:t>
          </a:r>
          <a:r>
            <a:rPr lang="en-US" sz="2000" b="1"/>
            <a:t>separate</a:t>
          </a:r>
        </a:p>
      </dgm:t>
    </dgm:pt>
    <dgm:pt modelId="{DFC4377C-D192-4F3E-A2C3-41CBDCDE0418}" type="sibTrans" cxnId="{C4A291B3-024D-48B8-88AC-8800539B8467}">
      <dgm:prSet/>
      <dgm:spPr/>
      <dgm:t>
        <a:bodyPr/>
        <a:lstStyle/>
        <a:p>
          <a:endParaRPr lang="en-US"/>
        </a:p>
      </dgm:t>
    </dgm:pt>
    <dgm:pt modelId="{DE2B7BAD-3014-4EF1-B818-7CE9F0877EAA}" type="parTrans" cxnId="{C4A291B3-024D-48B8-88AC-8800539B8467}">
      <dgm:prSet/>
      <dgm:spPr/>
      <dgm:t>
        <a:bodyPr/>
        <a:lstStyle/>
        <a:p>
          <a:endParaRPr lang="en-US"/>
        </a:p>
      </dgm:t>
    </dgm:pt>
    <dgm:pt modelId="{24D801FC-AC44-497C-9677-1EC82FB46BC3}">
      <dgm:prSet custT="1">
        <dgm:style>
          <a:lnRef idx="2">
            <a:schemeClr val="accent2">
              <a:shade val="50000"/>
            </a:schemeClr>
          </a:lnRef>
          <a:fillRef idx="1">
            <a:schemeClr val="accent2"/>
          </a:fillRef>
          <a:effectRef idx="0">
            <a:schemeClr val="accent2"/>
          </a:effectRef>
          <a:fontRef idx="minor">
            <a:schemeClr val="lt1"/>
          </a:fontRef>
        </dgm:style>
      </dgm:prSet>
      <dgm:spPr>
        <a:ln/>
      </dgm:spPr>
      <dgm:t>
        <a:bodyPr/>
        <a:lstStyle/>
        <a:p>
          <a:r>
            <a:rPr lang="en-US" sz="2000"/>
            <a:t>Some streams are </a:t>
          </a:r>
          <a:r>
            <a:rPr lang="en-US" sz="2000" b="1"/>
            <a:t>hidden</a:t>
          </a:r>
          <a:r>
            <a:rPr lang="en-US" sz="2000"/>
            <a:t> by default</a:t>
          </a:r>
        </a:p>
      </dgm:t>
    </dgm:pt>
    <dgm:pt modelId="{5EAE4EDA-1928-4034-95E0-092307229821}" type="parTrans" cxnId="{6B9C29F1-E01A-4D8B-8CAE-F95E57A863C2}">
      <dgm:prSet/>
      <dgm:spPr/>
      <dgm:t>
        <a:bodyPr/>
        <a:lstStyle/>
        <a:p>
          <a:endParaRPr lang="en-US"/>
        </a:p>
      </dgm:t>
    </dgm:pt>
    <dgm:pt modelId="{057B83D8-FA66-4491-B1F5-25F2459F1E60}" type="sibTrans" cxnId="{6B9C29F1-E01A-4D8B-8CAE-F95E57A863C2}">
      <dgm:prSet/>
      <dgm:spPr/>
      <dgm:t>
        <a:bodyPr/>
        <a:lstStyle/>
        <a:p>
          <a:endParaRPr lang="en-US"/>
        </a:p>
      </dgm:t>
    </dgm:pt>
    <dgm:pt modelId="{C506E9FC-38B0-42BD-A13F-0F8BC52AFCC8}">
      <dgm:prSet custT="1">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t>
        <a:bodyPr/>
        <a:lstStyle/>
        <a:p>
          <a:r>
            <a:rPr lang="en-US" sz="2000"/>
            <a:t>Output</a:t>
          </a:r>
        </a:p>
      </dgm:t>
    </dgm:pt>
    <dgm:pt modelId="{E2DFB665-0E55-4107-9D21-843539F544ED}" type="parTrans" cxnId="{7099E33A-7444-414E-B64E-9E406782FE6E}">
      <dgm:prSet/>
      <dgm:spPr/>
      <dgm:t>
        <a:bodyPr/>
        <a:lstStyle/>
        <a:p>
          <a:endParaRPr lang="en-US"/>
        </a:p>
      </dgm:t>
    </dgm:pt>
    <dgm:pt modelId="{29EB1401-944C-46D8-BF08-D6BF5A088431}" type="sibTrans" cxnId="{7099E33A-7444-414E-B64E-9E406782FE6E}">
      <dgm:prSet/>
      <dgm:spPr/>
      <dgm:t>
        <a:bodyPr/>
        <a:lstStyle/>
        <a:p>
          <a:endParaRPr lang="en-US"/>
        </a:p>
      </dgm:t>
    </dgm:pt>
    <dgm:pt modelId="{DDA6EE59-B0E7-4CDD-9BA3-35EA80A7D307}">
      <dgm:prSet custT="1">
        <dgm:style>
          <a:lnRef idx="0">
            <a:scrgbClr r="0" g="0" b="0"/>
          </a:lnRef>
          <a:fillRef idx="0">
            <a:scrgbClr r="0" g="0" b="0"/>
          </a:fillRef>
          <a:effectRef idx="0">
            <a:scrgbClr r="0" g="0" b="0"/>
          </a:effectRef>
          <a:fontRef idx="minor">
            <a:schemeClr val="lt1"/>
          </a:fontRef>
        </dgm:style>
      </dgm:prSet>
      <dgm:spPr>
        <a:solidFill>
          <a:schemeClr val="accent5">
            <a:alpha val="50000"/>
          </a:schemeClr>
        </a:solidFill>
        <a:ln>
          <a:noFill/>
        </a:ln>
      </dgm:spPr>
      <dgm:t>
        <a:bodyPr/>
        <a:lstStyle/>
        <a:p>
          <a:r>
            <a:rPr lang="en-US" sz="2000"/>
            <a:t>Write-Output</a:t>
          </a:r>
        </a:p>
      </dgm:t>
    </dgm:pt>
    <dgm:pt modelId="{1C60852C-0547-4A51-A76D-D098E20C3157}" type="parTrans" cxnId="{FEB2E52A-C3B4-4BDC-B9AD-F08901F8B7B9}">
      <dgm:prSet/>
      <dgm:spPr/>
      <dgm:t>
        <a:bodyPr/>
        <a:lstStyle/>
        <a:p>
          <a:endParaRPr lang="en-US"/>
        </a:p>
      </dgm:t>
    </dgm:pt>
    <dgm:pt modelId="{44EB0F01-26EF-46A9-8E9F-57B173555845}" type="sibTrans" cxnId="{FEB2E52A-C3B4-4BDC-B9AD-F08901F8B7B9}">
      <dgm:prSet/>
      <dgm:spPr/>
      <dgm:t>
        <a:bodyPr/>
        <a:lstStyle/>
        <a:p>
          <a:endParaRPr lang="en-US"/>
        </a:p>
      </dgm:t>
    </dgm:pt>
    <dgm:pt modelId="{6103EF4E-D8A3-4941-8D7A-0A24ECF3094A}">
      <dgm:prSet custT="1">
        <dgm:style>
          <a:lnRef idx="0">
            <a:scrgbClr r="0" g="0" b="0"/>
          </a:lnRef>
          <a:fillRef idx="0">
            <a:scrgbClr r="0" g="0" b="0"/>
          </a:fillRef>
          <a:effectRef idx="0">
            <a:scrgbClr r="0" g="0" b="0"/>
          </a:effectRef>
          <a:fontRef idx="minor">
            <a:schemeClr val="lt1"/>
          </a:fontRef>
        </dgm:style>
      </dgm:prSet>
      <dgm:spPr>
        <a:solidFill>
          <a:schemeClr val="accent4">
            <a:alpha val="50000"/>
          </a:schemeClr>
        </a:solidFill>
        <a:ln>
          <a:noFill/>
        </a:ln>
      </dgm:spPr>
      <dgm:t>
        <a:bodyPr/>
        <a:lstStyle/>
        <a:p>
          <a:r>
            <a:rPr lang="en-US" sz="2000" b="1"/>
            <a:t>&gt;&gt;</a:t>
          </a:r>
        </a:p>
      </dgm:t>
    </dgm:pt>
    <dgm:pt modelId="{876041B8-0BA9-45BD-A1C4-11462DD1D282}" type="parTrans" cxnId="{22A2ABBF-1329-45F9-9D6E-5AF9274DB13B}">
      <dgm:prSet/>
      <dgm:spPr/>
      <dgm:t>
        <a:bodyPr/>
        <a:lstStyle/>
        <a:p>
          <a:endParaRPr lang="en-US"/>
        </a:p>
      </dgm:t>
    </dgm:pt>
    <dgm:pt modelId="{95C1ED04-537C-4715-AD5C-541331B2FC00}" type="sibTrans" cxnId="{22A2ABBF-1329-45F9-9D6E-5AF9274DB13B}">
      <dgm:prSet/>
      <dgm:spPr/>
      <dgm:t>
        <a:bodyPr/>
        <a:lstStyle/>
        <a:p>
          <a:endParaRPr lang="en-US"/>
        </a:p>
      </dgm:t>
    </dgm:pt>
    <dgm:pt modelId="{CECE5D6A-411A-4B52-8F91-AE790751A48C}">
      <dgm:prSet custT="1">
        <dgm:style>
          <a:lnRef idx="0">
            <a:scrgbClr r="0" g="0" b="0"/>
          </a:lnRef>
          <a:fillRef idx="0">
            <a:scrgbClr r="0" g="0" b="0"/>
          </a:fillRef>
          <a:effectRef idx="0">
            <a:scrgbClr r="0" g="0" b="0"/>
          </a:effectRef>
          <a:fontRef idx="minor">
            <a:schemeClr val="lt1"/>
          </a:fontRef>
        </dgm:style>
      </dgm:prSet>
      <dgm:spPr>
        <a:solidFill>
          <a:schemeClr val="accent1">
            <a:alpha val="50000"/>
          </a:schemeClr>
        </a:solidFill>
        <a:ln>
          <a:noFill/>
        </a:ln>
      </dgm:spPr>
      <dgm:t>
        <a:bodyPr/>
        <a:lstStyle/>
        <a:p>
          <a:r>
            <a:rPr lang="en-US" sz="2000">
              <a:solidFill>
                <a:schemeClr val="tx1"/>
              </a:solidFill>
            </a:rPr>
            <a:t>Verbose</a:t>
          </a:r>
        </a:p>
      </dgm:t>
    </dgm:pt>
    <dgm:pt modelId="{A2A5154E-820D-403A-8BA9-26AD549C6823}" type="parTrans" cxnId="{59018D95-27F5-4452-B67D-38AE19B387A7}">
      <dgm:prSet/>
      <dgm:spPr/>
      <dgm:t>
        <a:bodyPr/>
        <a:lstStyle/>
        <a:p>
          <a:endParaRPr lang="en-US"/>
        </a:p>
      </dgm:t>
    </dgm:pt>
    <dgm:pt modelId="{F3D9403E-BB80-4A29-93F3-9C93468C424E}" type="sibTrans" cxnId="{59018D95-27F5-4452-B67D-38AE19B387A7}">
      <dgm:prSet/>
      <dgm:spPr/>
      <dgm:t>
        <a:bodyPr/>
        <a:lstStyle/>
        <a:p>
          <a:endParaRPr lang="en-US"/>
        </a:p>
      </dgm:t>
    </dgm:pt>
    <dgm:pt modelId="{483EDC7B-6F58-4ACE-A1D7-B7427451E934}">
      <dgm:prSet custT="1">
        <dgm:style>
          <a:lnRef idx="0">
            <a:scrgbClr r="0" g="0" b="0"/>
          </a:lnRef>
          <a:fillRef idx="0">
            <a:scrgbClr r="0" g="0" b="0"/>
          </a:fillRef>
          <a:effectRef idx="0">
            <a:scrgbClr r="0" g="0" b="0"/>
          </a:effectRef>
          <a:fontRef idx="minor">
            <a:schemeClr val="lt1"/>
          </a:fontRef>
        </dgm:style>
      </dgm:prSet>
      <dgm:spPr>
        <a:solidFill>
          <a:schemeClr val="accent1">
            <a:alpha val="50000"/>
          </a:schemeClr>
        </a:solidFill>
        <a:ln>
          <a:noFill/>
        </a:ln>
      </dgm:spPr>
      <dgm:t>
        <a:bodyPr/>
        <a:lstStyle/>
        <a:p>
          <a:r>
            <a:rPr lang="en-US" sz="2000">
              <a:solidFill>
                <a:schemeClr val="tx1"/>
              </a:solidFill>
            </a:rPr>
            <a:t>Debug</a:t>
          </a:r>
        </a:p>
      </dgm:t>
    </dgm:pt>
    <dgm:pt modelId="{C9C7C8D2-0F25-4CE8-AA61-0582CA077A1F}" type="parTrans" cxnId="{19598766-606D-4F34-B418-16DD31F2495E}">
      <dgm:prSet/>
      <dgm:spPr/>
      <dgm:t>
        <a:bodyPr/>
        <a:lstStyle/>
        <a:p>
          <a:endParaRPr lang="en-US"/>
        </a:p>
      </dgm:t>
    </dgm:pt>
    <dgm:pt modelId="{4CC756ED-2373-4D34-A2D1-F22B495A6A8D}" type="sibTrans" cxnId="{19598766-606D-4F34-B418-16DD31F2495E}">
      <dgm:prSet/>
      <dgm:spPr/>
      <dgm:t>
        <a:bodyPr/>
        <a:lstStyle/>
        <a:p>
          <a:endParaRPr lang="en-US"/>
        </a:p>
      </dgm:t>
    </dgm:pt>
    <dgm:pt modelId="{CC3F103C-2BFF-4547-8195-CF69A7277254}">
      <dgm:prSet custT="1">
        <dgm:style>
          <a:lnRef idx="0">
            <a:scrgbClr r="0" g="0" b="0"/>
          </a:lnRef>
          <a:fillRef idx="0">
            <a:scrgbClr r="0" g="0" b="0"/>
          </a:fillRef>
          <a:effectRef idx="0">
            <a:scrgbClr r="0" g="0" b="0"/>
          </a:effectRef>
          <a:fontRef idx="minor">
            <a:schemeClr val="lt1"/>
          </a:fontRef>
        </dgm:style>
      </dgm:prSet>
      <dgm:spPr>
        <a:solidFill>
          <a:schemeClr val="accent1">
            <a:alpha val="50000"/>
          </a:schemeClr>
        </a:solidFill>
        <a:ln>
          <a:noFill/>
        </a:ln>
      </dgm:spPr>
      <dgm:t>
        <a:bodyPr/>
        <a:lstStyle/>
        <a:p>
          <a:r>
            <a:rPr lang="en-US" sz="2000">
              <a:solidFill>
                <a:schemeClr val="tx1"/>
              </a:solidFill>
            </a:rPr>
            <a:t>Information</a:t>
          </a:r>
        </a:p>
      </dgm:t>
    </dgm:pt>
    <dgm:pt modelId="{2ED7EA12-6B4C-46E2-9E11-CB4CB0B77778}" type="parTrans" cxnId="{31A1D06B-2DE0-41FA-A79B-1C8156758604}">
      <dgm:prSet/>
      <dgm:spPr/>
      <dgm:t>
        <a:bodyPr/>
        <a:lstStyle/>
        <a:p>
          <a:endParaRPr lang="en-US"/>
        </a:p>
      </dgm:t>
    </dgm:pt>
    <dgm:pt modelId="{DEAAB5CE-D416-4632-B776-9D38DF8B9992}" type="sibTrans" cxnId="{31A1D06B-2DE0-41FA-A79B-1C8156758604}">
      <dgm:prSet/>
      <dgm:spPr/>
      <dgm:t>
        <a:bodyPr/>
        <a:lstStyle/>
        <a:p>
          <a:endParaRPr lang="en-US"/>
        </a:p>
      </dgm:t>
    </dgm:pt>
    <dgm:pt modelId="{A9A798D1-EBF2-4565-8A1C-172FC8CF5F41}">
      <dgm:prSet custT="1">
        <dgm:style>
          <a:lnRef idx="0">
            <a:scrgbClr r="0" g="0" b="0"/>
          </a:lnRef>
          <a:fillRef idx="0">
            <a:scrgbClr r="0" g="0" b="0"/>
          </a:fillRef>
          <a:effectRef idx="0">
            <a:scrgbClr r="0" g="0" b="0"/>
          </a:effectRef>
          <a:fontRef idx="minor">
            <a:schemeClr val="lt1"/>
          </a:fontRef>
        </dgm:style>
      </dgm:prSet>
      <dgm:spPr>
        <a:solidFill>
          <a:schemeClr val="accent4">
            <a:alpha val="50000"/>
          </a:schemeClr>
        </a:solidFill>
        <a:ln>
          <a:noFill/>
        </a:ln>
      </dgm:spPr>
      <dgm:t>
        <a:bodyPr/>
        <a:lstStyle/>
        <a:p>
          <a:r>
            <a:rPr lang="en-US" sz="2000" b="1"/>
            <a:t>&gt;</a:t>
          </a:r>
        </a:p>
      </dgm:t>
    </dgm:pt>
    <dgm:pt modelId="{13E88BCC-C311-421A-9858-601606EF43BD}" type="parTrans" cxnId="{AB60E4A6-45E7-4AE5-8680-88EE9982A044}">
      <dgm:prSet/>
      <dgm:spPr/>
      <dgm:t>
        <a:bodyPr/>
        <a:lstStyle/>
        <a:p>
          <a:endParaRPr lang="en-US"/>
        </a:p>
      </dgm:t>
    </dgm:pt>
    <dgm:pt modelId="{FE877F97-2E9B-4954-8B13-F2EAF540AD9E}" type="sibTrans" cxnId="{AB60E4A6-45E7-4AE5-8680-88EE9982A044}">
      <dgm:prSet/>
      <dgm:spPr/>
      <dgm:t>
        <a:bodyPr/>
        <a:lstStyle/>
        <a:p>
          <a:endParaRPr lang="en-US"/>
        </a:p>
      </dgm:t>
    </dgm:pt>
    <dgm:pt modelId="{AF942702-16AA-4A66-837C-3BFE1ADB3063}">
      <dgm:prSet custT="1"/>
      <dgm:spPr/>
      <dgm:t>
        <a:bodyPr/>
        <a:lstStyle/>
        <a:p>
          <a:r>
            <a:rPr lang="en-US" sz="2000" b="1"/>
            <a:t>Write-* </a:t>
          </a:r>
          <a:r>
            <a:rPr lang="en-US" sz="2000"/>
            <a:t>sends object(s) to specific category </a:t>
          </a:r>
          <a:r>
            <a:rPr lang="en-US" sz="2000" b="1"/>
            <a:t>streams</a:t>
          </a:r>
        </a:p>
      </dgm:t>
    </dgm:pt>
    <dgm:pt modelId="{30C989E9-28B3-4B5D-B197-FD0FF48CE7BE}" type="parTrans" cxnId="{3EE066E6-9EFA-4FAC-B0ED-EFCF8D7AB1C6}">
      <dgm:prSet/>
      <dgm:spPr/>
      <dgm:t>
        <a:bodyPr/>
        <a:lstStyle/>
        <a:p>
          <a:endParaRPr lang="en-US"/>
        </a:p>
      </dgm:t>
    </dgm:pt>
    <dgm:pt modelId="{91700A69-40FF-4FCE-AE5F-0525A0396DBC}" type="sibTrans" cxnId="{3EE066E6-9EFA-4FAC-B0ED-EFCF8D7AB1C6}">
      <dgm:prSet/>
      <dgm:spPr/>
      <dgm:t>
        <a:bodyPr/>
        <a:lstStyle/>
        <a:p>
          <a:endParaRPr lang="en-US"/>
        </a:p>
      </dgm:t>
    </dgm:pt>
    <dgm:pt modelId="{565D4022-87FD-466E-835C-C923FA88D6BB}" type="pres">
      <dgm:prSet presAssocID="{9BC39980-1D75-474E-A42A-A9861B11D20C}" presName="diagram" presStyleCnt="0">
        <dgm:presLayoutVars>
          <dgm:chPref val="1"/>
          <dgm:dir/>
          <dgm:animOne val="branch"/>
          <dgm:animLvl val="lvl"/>
          <dgm:resizeHandles/>
        </dgm:presLayoutVars>
      </dgm:prSet>
      <dgm:spPr/>
    </dgm:pt>
    <dgm:pt modelId="{C6DFD4EE-E69D-4176-98BA-966200B2EB96}" type="pres">
      <dgm:prSet presAssocID="{83EF3DE1-57B7-420B-A32D-69831DB3AB75}" presName="root" presStyleCnt="0"/>
      <dgm:spPr/>
    </dgm:pt>
    <dgm:pt modelId="{5A3BC6B8-6A55-4F19-A951-A17B5C3B4649}" type="pres">
      <dgm:prSet presAssocID="{83EF3DE1-57B7-420B-A32D-69831DB3AB75}" presName="rootComposite" presStyleCnt="0"/>
      <dgm:spPr/>
    </dgm:pt>
    <dgm:pt modelId="{F41B303D-998E-4447-906B-F5C0EE2573D1}" type="pres">
      <dgm:prSet presAssocID="{83EF3DE1-57B7-420B-A32D-69831DB3AB75}" presName="rootText" presStyleLbl="node1" presStyleIdx="0" presStyleCnt="4" custScaleX="141348" custScaleY="194251"/>
      <dgm:spPr/>
    </dgm:pt>
    <dgm:pt modelId="{2F830582-46F4-4995-8523-671DC1D8A67B}" type="pres">
      <dgm:prSet presAssocID="{83EF3DE1-57B7-420B-A32D-69831DB3AB75}" presName="rootConnector" presStyleLbl="node1" presStyleIdx="0" presStyleCnt="4"/>
      <dgm:spPr/>
    </dgm:pt>
    <dgm:pt modelId="{40245CF5-FCCA-463F-A85A-D978C4CC84BC}" type="pres">
      <dgm:prSet presAssocID="{83EF3DE1-57B7-420B-A32D-69831DB3AB75}" presName="childShape" presStyleCnt="0"/>
      <dgm:spPr/>
    </dgm:pt>
    <dgm:pt modelId="{DEE64E9E-D504-49AE-AAF8-0475A17ADD5D}" type="pres">
      <dgm:prSet presAssocID="{6AE9E714-C767-4434-9A0D-98B8CCC77E74}" presName="Name13" presStyleLbl="parChTrans1D2" presStyleIdx="0" presStyleCnt="12"/>
      <dgm:spPr/>
    </dgm:pt>
    <dgm:pt modelId="{2F9ED4CC-395F-4A2D-A354-D816DFB2EBAE}" type="pres">
      <dgm:prSet presAssocID="{F4033D1E-B8CF-4F98-9E9E-9B33554D8A0A}" presName="childText" presStyleLbl="bgAcc1" presStyleIdx="0" presStyleCnt="12" custScaleX="126568" custScaleY="50470">
        <dgm:presLayoutVars>
          <dgm:bulletEnabled val="1"/>
        </dgm:presLayoutVars>
      </dgm:prSet>
      <dgm:spPr/>
    </dgm:pt>
    <dgm:pt modelId="{B222982D-32BD-4A6C-A3E0-6E4E469A0EA5}" type="pres">
      <dgm:prSet presAssocID="{12A1E3CF-1DBC-42B7-9168-E1B6001BB546}" presName="Name13" presStyleLbl="parChTrans1D2" presStyleIdx="1" presStyleCnt="12"/>
      <dgm:spPr/>
    </dgm:pt>
    <dgm:pt modelId="{9A606B5D-D902-4946-9B3A-AF7A5477E171}" type="pres">
      <dgm:prSet presAssocID="{6617B47E-ED9D-4178-8A54-316D059038DC}" presName="childText" presStyleLbl="bgAcc1" presStyleIdx="1" presStyleCnt="12" custScaleX="126568" custScaleY="50470">
        <dgm:presLayoutVars>
          <dgm:bulletEnabled val="1"/>
        </dgm:presLayoutVars>
      </dgm:prSet>
      <dgm:spPr/>
    </dgm:pt>
    <dgm:pt modelId="{2E915F7C-67AB-4B18-9847-F97096491EBB}" type="pres">
      <dgm:prSet presAssocID="{E2DFB665-0E55-4107-9D21-843539F544ED}" presName="Name13" presStyleLbl="parChTrans1D2" presStyleIdx="2" presStyleCnt="12"/>
      <dgm:spPr/>
    </dgm:pt>
    <dgm:pt modelId="{CA5EDA05-5255-44C7-93BE-C96075F64BB8}" type="pres">
      <dgm:prSet presAssocID="{C506E9FC-38B0-42BD-A13F-0F8BC52AFCC8}" presName="childText" presStyleLbl="bgAcc1" presStyleIdx="2" presStyleCnt="12" custScaleX="126568" custScaleY="50470">
        <dgm:presLayoutVars>
          <dgm:bulletEnabled val="1"/>
        </dgm:presLayoutVars>
      </dgm:prSet>
      <dgm:spPr/>
    </dgm:pt>
    <dgm:pt modelId="{170C85E6-8074-4305-A058-79745B4DF371}" type="pres">
      <dgm:prSet presAssocID="{AF942702-16AA-4A66-837C-3BFE1ADB3063}" presName="root" presStyleCnt="0"/>
      <dgm:spPr/>
    </dgm:pt>
    <dgm:pt modelId="{E61EBF4F-E57F-4376-9ABC-0166AC1823EA}" type="pres">
      <dgm:prSet presAssocID="{AF942702-16AA-4A66-837C-3BFE1ADB3063}" presName="rootComposite" presStyleCnt="0"/>
      <dgm:spPr/>
    </dgm:pt>
    <dgm:pt modelId="{1EEFDDE0-C09B-409B-8E10-1555A9B2088F}" type="pres">
      <dgm:prSet presAssocID="{AF942702-16AA-4A66-837C-3BFE1ADB3063}" presName="rootText" presStyleLbl="node1" presStyleIdx="1" presStyleCnt="4" custScaleX="141348" custScaleY="194251"/>
      <dgm:spPr/>
    </dgm:pt>
    <dgm:pt modelId="{072C43EF-A839-4D59-AD27-91E56538D4DB}" type="pres">
      <dgm:prSet presAssocID="{AF942702-16AA-4A66-837C-3BFE1ADB3063}" presName="rootConnector" presStyleLbl="node1" presStyleIdx="1" presStyleCnt="4"/>
      <dgm:spPr/>
    </dgm:pt>
    <dgm:pt modelId="{2F60905E-D94D-4D80-B710-45CABCF10AC7}" type="pres">
      <dgm:prSet presAssocID="{AF942702-16AA-4A66-837C-3BFE1ADB3063}" presName="childShape" presStyleCnt="0"/>
      <dgm:spPr/>
    </dgm:pt>
    <dgm:pt modelId="{CD87D47C-456C-418E-BE13-74EE5E9772DB}" type="pres">
      <dgm:prSet presAssocID="{76309884-53CE-4C3D-AEA5-5C568E38BC47}" presName="Name13" presStyleLbl="parChTrans1D2" presStyleIdx="3" presStyleCnt="12"/>
      <dgm:spPr/>
    </dgm:pt>
    <dgm:pt modelId="{FE63B4AB-D058-4F0B-87EA-9C7D32DD27C4}" type="pres">
      <dgm:prSet presAssocID="{EABE324E-A09A-4BBF-9ADF-C8A47AA99759}" presName="childText" presStyleLbl="bgAcc1" presStyleIdx="3" presStyleCnt="12" custScaleX="126568" custScaleY="50470">
        <dgm:presLayoutVars>
          <dgm:bulletEnabled val="1"/>
        </dgm:presLayoutVars>
      </dgm:prSet>
      <dgm:spPr/>
    </dgm:pt>
    <dgm:pt modelId="{7214BE7B-DEED-4C3B-ADDF-B655E606468C}" type="pres">
      <dgm:prSet presAssocID="{C85E14D7-67A5-45D3-A40A-3C048A05CDC1}" presName="Name13" presStyleLbl="parChTrans1D2" presStyleIdx="4" presStyleCnt="12"/>
      <dgm:spPr/>
    </dgm:pt>
    <dgm:pt modelId="{BE477C27-2116-404B-BB05-F40D2919158A}" type="pres">
      <dgm:prSet presAssocID="{AFF64774-9327-42A5-AB12-D8810B96048A}" presName="childText" presStyleLbl="bgAcc1" presStyleIdx="4" presStyleCnt="12" custScaleX="126568" custScaleY="50470">
        <dgm:presLayoutVars>
          <dgm:bulletEnabled val="1"/>
        </dgm:presLayoutVars>
      </dgm:prSet>
      <dgm:spPr/>
    </dgm:pt>
    <dgm:pt modelId="{963B1D66-C529-4CCB-AAB2-F0B3D91DBC9B}" type="pres">
      <dgm:prSet presAssocID="{1C60852C-0547-4A51-A76D-D098E20C3157}" presName="Name13" presStyleLbl="parChTrans1D2" presStyleIdx="5" presStyleCnt="12"/>
      <dgm:spPr/>
    </dgm:pt>
    <dgm:pt modelId="{1A9804DA-2248-4375-9671-128171021F79}" type="pres">
      <dgm:prSet presAssocID="{DDA6EE59-B0E7-4CDD-9BA3-35EA80A7D307}" presName="childText" presStyleLbl="bgAcc1" presStyleIdx="5" presStyleCnt="12" custScaleX="126568" custScaleY="50470">
        <dgm:presLayoutVars>
          <dgm:bulletEnabled val="1"/>
        </dgm:presLayoutVars>
      </dgm:prSet>
      <dgm:spPr/>
    </dgm:pt>
    <dgm:pt modelId="{1FA162DF-6A6B-481B-8C56-C11D6C745096}" type="pres">
      <dgm:prSet presAssocID="{92AFF0F8-8592-4275-ACC4-B2E362508A3B}" presName="root" presStyleCnt="0"/>
      <dgm:spPr/>
    </dgm:pt>
    <dgm:pt modelId="{FDA92F20-874E-4546-A0DB-E9492EADF46C}" type="pres">
      <dgm:prSet presAssocID="{92AFF0F8-8592-4275-ACC4-B2E362508A3B}" presName="rootComposite" presStyleCnt="0"/>
      <dgm:spPr/>
    </dgm:pt>
    <dgm:pt modelId="{5DDC5760-D608-4655-AE0C-15637AE09BE0}" type="pres">
      <dgm:prSet presAssocID="{92AFF0F8-8592-4275-ACC4-B2E362508A3B}" presName="rootText" presStyleLbl="node1" presStyleIdx="2" presStyleCnt="4" custScaleX="141348" custScaleY="194251"/>
      <dgm:spPr/>
    </dgm:pt>
    <dgm:pt modelId="{38AC787A-93CF-49A4-A52A-18CDBEF4AFB0}" type="pres">
      <dgm:prSet presAssocID="{92AFF0F8-8592-4275-ACC4-B2E362508A3B}" presName="rootConnector" presStyleLbl="node1" presStyleIdx="2" presStyleCnt="4"/>
      <dgm:spPr/>
    </dgm:pt>
    <dgm:pt modelId="{806155CB-2780-401B-88E0-077FB4C1015D}" type="pres">
      <dgm:prSet presAssocID="{92AFF0F8-8592-4275-ACC4-B2E362508A3B}" presName="childShape" presStyleCnt="0"/>
      <dgm:spPr/>
    </dgm:pt>
    <dgm:pt modelId="{0302129F-1D30-4BA0-B682-1C9479B61488}" type="pres">
      <dgm:prSet presAssocID="{7D17CE76-FDC5-4122-97D7-2CB5BB51D49A}" presName="Name13" presStyleLbl="parChTrans1D2" presStyleIdx="6" presStyleCnt="12"/>
      <dgm:spPr/>
    </dgm:pt>
    <dgm:pt modelId="{9BF7475B-53FA-45DE-87D6-F7FD28C95586}" type="pres">
      <dgm:prSet presAssocID="{1880EAC7-B2C1-48F0-8461-59DB63FAD393}" presName="childText" presStyleLbl="bgAcc1" presStyleIdx="6" presStyleCnt="12" custScaleX="126568" custScaleY="50470">
        <dgm:presLayoutVars>
          <dgm:bulletEnabled val="1"/>
        </dgm:presLayoutVars>
      </dgm:prSet>
      <dgm:spPr/>
    </dgm:pt>
    <dgm:pt modelId="{E0A9251F-4378-452E-886E-13C6CEC4C9DE}" type="pres">
      <dgm:prSet presAssocID="{13E88BCC-C311-421A-9858-601606EF43BD}" presName="Name13" presStyleLbl="parChTrans1D2" presStyleIdx="7" presStyleCnt="12"/>
      <dgm:spPr/>
    </dgm:pt>
    <dgm:pt modelId="{7B04E9FD-CB8D-46A4-8C22-D09885575B54}" type="pres">
      <dgm:prSet presAssocID="{A9A798D1-EBF2-4565-8A1C-172FC8CF5F41}" presName="childText" presStyleLbl="bgAcc1" presStyleIdx="7" presStyleCnt="12" custScaleX="126568" custScaleY="50470">
        <dgm:presLayoutVars>
          <dgm:bulletEnabled val="1"/>
        </dgm:presLayoutVars>
      </dgm:prSet>
      <dgm:spPr/>
    </dgm:pt>
    <dgm:pt modelId="{7487FF15-6FA0-4407-A12D-A4719F306A6B}" type="pres">
      <dgm:prSet presAssocID="{876041B8-0BA9-45BD-A1C4-11462DD1D282}" presName="Name13" presStyleLbl="parChTrans1D2" presStyleIdx="8" presStyleCnt="12"/>
      <dgm:spPr/>
    </dgm:pt>
    <dgm:pt modelId="{E175C5FF-273D-430B-B490-D40DF205ABE4}" type="pres">
      <dgm:prSet presAssocID="{6103EF4E-D8A3-4941-8D7A-0A24ECF3094A}" presName="childText" presStyleLbl="bgAcc1" presStyleIdx="8" presStyleCnt="12" custScaleX="126568" custScaleY="50470">
        <dgm:presLayoutVars>
          <dgm:bulletEnabled val="1"/>
        </dgm:presLayoutVars>
      </dgm:prSet>
      <dgm:spPr/>
    </dgm:pt>
    <dgm:pt modelId="{B964B1DB-4AB0-451A-8972-56D7EC1B7E9D}" type="pres">
      <dgm:prSet presAssocID="{24D801FC-AC44-497C-9677-1EC82FB46BC3}" presName="root" presStyleCnt="0"/>
      <dgm:spPr/>
    </dgm:pt>
    <dgm:pt modelId="{FB753067-37CB-445F-8497-30F4D5BE4519}" type="pres">
      <dgm:prSet presAssocID="{24D801FC-AC44-497C-9677-1EC82FB46BC3}" presName="rootComposite" presStyleCnt="0"/>
      <dgm:spPr/>
    </dgm:pt>
    <dgm:pt modelId="{6FEC18CD-1C7C-4612-9949-18B55C7A2316}" type="pres">
      <dgm:prSet presAssocID="{24D801FC-AC44-497C-9677-1EC82FB46BC3}" presName="rootText" presStyleLbl="node1" presStyleIdx="3" presStyleCnt="4" custScaleX="141348" custScaleY="194251"/>
      <dgm:spPr/>
    </dgm:pt>
    <dgm:pt modelId="{088BD1D0-3661-49E8-9007-E5B8C1859DD4}" type="pres">
      <dgm:prSet presAssocID="{24D801FC-AC44-497C-9677-1EC82FB46BC3}" presName="rootConnector" presStyleLbl="node1" presStyleIdx="3" presStyleCnt="4"/>
      <dgm:spPr/>
    </dgm:pt>
    <dgm:pt modelId="{3A33D3D4-6A35-48B9-9156-525E96FFBC14}" type="pres">
      <dgm:prSet presAssocID="{24D801FC-AC44-497C-9677-1EC82FB46BC3}" presName="childShape" presStyleCnt="0"/>
      <dgm:spPr/>
    </dgm:pt>
    <dgm:pt modelId="{CE9CCA37-C2EA-494A-8044-E2BC37B77033}" type="pres">
      <dgm:prSet presAssocID="{A2A5154E-820D-403A-8BA9-26AD549C6823}" presName="Name13" presStyleLbl="parChTrans1D2" presStyleIdx="9" presStyleCnt="12"/>
      <dgm:spPr/>
    </dgm:pt>
    <dgm:pt modelId="{A546E1B7-79DB-404A-ADF0-D21038BE6D77}" type="pres">
      <dgm:prSet presAssocID="{CECE5D6A-411A-4B52-8F91-AE790751A48C}" presName="childText" presStyleLbl="bgAcc1" presStyleIdx="9" presStyleCnt="12" custScaleX="126568" custScaleY="50470">
        <dgm:presLayoutVars>
          <dgm:bulletEnabled val="1"/>
        </dgm:presLayoutVars>
      </dgm:prSet>
      <dgm:spPr/>
    </dgm:pt>
    <dgm:pt modelId="{2C764158-55F3-44CD-90B9-FE0D0FD4926E}" type="pres">
      <dgm:prSet presAssocID="{C9C7C8D2-0F25-4CE8-AA61-0582CA077A1F}" presName="Name13" presStyleLbl="parChTrans1D2" presStyleIdx="10" presStyleCnt="12"/>
      <dgm:spPr/>
    </dgm:pt>
    <dgm:pt modelId="{D8737CCB-2EBA-408A-B94C-AFB7D2404E89}" type="pres">
      <dgm:prSet presAssocID="{483EDC7B-6F58-4ACE-A1D7-B7427451E934}" presName="childText" presStyleLbl="bgAcc1" presStyleIdx="10" presStyleCnt="12" custScaleX="126568" custScaleY="50470">
        <dgm:presLayoutVars>
          <dgm:bulletEnabled val="1"/>
        </dgm:presLayoutVars>
      </dgm:prSet>
      <dgm:spPr/>
    </dgm:pt>
    <dgm:pt modelId="{7688E630-85F4-4BB1-9CEA-1D393CB669FB}" type="pres">
      <dgm:prSet presAssocID="{2ED7EA12-6B4C-46E2-9E11-CB4CB0B77778}" presName="Name13" presStyleLbl="parChTrans1D2" presStyleIdx="11" presStyleCnt="12"/>
      <dgm:spPr/>
    </dgm:pt>
    <dgm:pt modelId="{1FB6E957-CCAD-4D1F-8094-A267198653FD}" type="pres">
      <dgm:prSet presAssocID="{CC3F103C-2BFF-4547-8195-CF69A7277254}" presName="childText" presStyleLbl="bgAcc1" presStyleIdx="11" presStyleCnt="12" custScaleX="126568" custScaleY="50470">
        <dgm:presLayoutVars>
          <dgm:bulletEnabled val="1"/>
        </dgm:presLayoutVars>
      </dgm:prSet>
      <dgm:spPr/>
    </dgm:pt>
  </dgm:ptLst>
  <dgm:cxnLst>
    <dgm:cxn modelId="{83CAF100-BDB3-44B3-97DA-5C2D8C3D68AE}" type="presOf" srcId="{1C60852C-0547-4A51-A76D-D098E20C3157}" destId="{963B1D66-C529-4CCB-AAB2-F0B3D91DBC9B}" srcOrd="0" destOrd="0" presId="urn:microsoft.com/office/officeart/2005/8/layout/hierarchy3"/>
    <dgm:cxn modelId="{14209B09-AFF9-45AD-82EC-7D1457865A3B}" type="presOf" srcId="{6AE9E714-C767-4434-9A0D-98B8CCC77E74}" destId="{DEE64E9E-D504-49AE-AAF8-0475A17ADD5D}" srcOrd="0" destOrd="0" presId="urn:microsoft.com/office/officeart/2005/8/layout/hierarchy3"/>
    <dgm:cxn modelId="{5E8F850C-A346-413A-9337-3A9F173CC2ED}" type="presOf" srcId="{9BC39980-1D75-474E-A42A-A9861B11D20C}" destId="{565D4022-87FD-466E-835C-C923FA88D6BB}" srcOrd="0" destOrd="0" presId="urn:microsoft.com/office/officeart/2005/8/layout/hierarchy3"/>
    <dgm:cxn modelId="{4776090D-DC60-4765-AD3B-0730660B07CF}" srcId="{83EF3DE1-57B7-420B-A32D-69831DB3AB75}" destId="{6617B47E-ED9D-4178-8A54-316D059038DC}" srcOrd="1" destOrd="0" parTransId="{12A1E3CF-1DBC-42B7-9168-E1B6001BB546}" sibTransId="{10AD48BC-8B90-4706-B329-E967A9267FB3}"/>
    <dgm:cxn modelId="{84062915-153A-4A02-87D9-F061DEA36951}" type="presOf" srcId="{CC3F103C-2BFF-4547-8195-CF69A7277254}" destId="{1FB6E957-CCAD-4D1F-8094-A267198653FD}" srcOrd="0" destOrd="0" presId="urn:microsoft.com/office/officeart/2005/8/layout/hierarchy3"/>
    <dgm:cxn modelId="{BE22661A-7F49-4BF6-8B4F-1680F86BF2EE}" type="presOf" srcId="{483EDC7B-6F58-4ACE-A1D7-B7427451E934}" destId="{D8737CCB-2EBA-408A-B94C-AFB7D2404E89}" srcOrd="0" destOrd="0" presId="urn:microsoft.com/office/officeart/2005/8/layout/hierarchy3"/>
    <dgm:cxn modelId="{1E92781B-2F20-44D1-B2A3-F2D24086FFD4}" type="presOf" srcId="{83EF3DE1-57B7-420B-A32D-69831DB3AB75}" destId="{2F830582-46F4-4995-8523-671DC1D8A67B}" srcOrd="1" destOrd="0" presId="urn:microsoft.com/office/officeart/2005/8/layout/hierarchy3"/>
    <dgm:cxn modelId="{9827CB1D-43F8-4E3C-8C80-51C6BB280AEA}" type="presOf" srcId="{7D17CE76-FDC5-4122-97D7-2CB5BB51D49A}" destId="{0302129F-1D30-4BA0-B682-1C9479B61488}" srcOrd="0" destOrd="0" presId="urn:microsoft.com/office/officeart/2005/8/layout/hierarchy3"/>
    <dgm:cxn modelId="{55758223-F880-4730-A037-D7E7BCE9B4B0}" type="presOf" srcId="{6617B47E-ED9D-4178-8A54-316D059038DC}" destId="{9A606B5D-D902-4946-9B3A-AF7A5477E171}" srcOrd="0" destOrd="0" presId="urn:microsoft.com/office/officeart/2005/8/layout/hierarchy3"/>
    <dgm:cxn modelId="{FEB2E52A-C3B4-4BDC-B9AD-F08901F8B7B9}" srcId="{AF942702-16AA-4A66-837C-3BFE1ADB3063}" destId="{DDA6EE59-B0E7-4CDD-9BA3-35EA80A7D307}" srcOrd="2" destOrd="0" parTransId="{1C60852C-0547-4A51-A76D-D098E20C3157}" sibTransId="{44EB0F01-26EF-46A9-8E9F-57B173555845}"/>
    <dgm:cxn modelId="{6F298A2C-DE0F-4F9A-9BD4-8115D1C1F203}" type="presOf" srcId="{C9C7C8D2-0F25-4CE8-AA61-0582CA077A1F}" destId="{2C764158-55F3-44CD-90B9-FE0D0FD4926E}" srcOrd="0" destOrd="0" presId="urn:microsoft.com/office/officeart/2005/8/layout/hierarchy3"/>
    <dgm:cxn modelId="{4C703F33-77AF-49FB-B10E-0C46783FF1A2}" type="presOf" srcId="{876041B8-0BA9-45BD-A1C4-11462DD1D282}" destId="{7487FF15-6FA0-4407-A12D-A4719F306A6B}" srcOrd="0" destOrd="0" presId="urn:microsoft.com/office/officeart/2005/8/layout/hierarchy3"/>
    <dgm:cxn modelId="{75D94335-687E-4AC2-9FF9-9BE36DB13D3E}" type="presOf" srcId="{AF942702-16AA-4A66-837C-3BFE1ADB3063}" destId="{072C43EF-A839-4D59-AD27-91E56538D4DB}" srcOrd="1" destOrd="0" presId="urn:microsoft.com/office/officeart/2005/8/layout/hierarchy3"/>
    <dgm:cxn modelId="{47E37037-47EB-429A-81B8-0A28D6E9131B}" type="presOf" srcId="{92AFF0F8-8592-4275-ACC4-B2E362508A3B}" destId="{5DDC5760-D608-4655-AE0C-15637AE09BE0}" srcOrd="0" destOrd="0" presId="urn:microsoft.com/office/officeart/2005/8/layout/hierarchy3"/>
    <dgm:cxn modelId="{7099E33A-7444-414E-B64E-9E406782FE6E}" srcId="{83EF3DE1-57B7-420B-A32D-69831DB3AB75}" destId="{C506E9FC-38B0-42BD-A13F-0F8BC52AFCC8}" srcOrd="2" destOrd="0" parTransId="{E2DFB665-0E55-4107-9D21-843539F544ED}" sibTransId="{29EB1401-944C-46D8-BF08-D6BF5A088431}"/>
    <dgm:cxn modelId="{D41BFD3B-8259-4184-AB6E-8C4D2001D4BB}" srcId="{92AFF0F8-8592-4275-ACC4-B2E362508A3B}" destId="{1880EAC7-B2C1-48F0-8461-59DB63FAD393}" srcOrd="0" destOrd="0" parTransId="{7D17CE76-FDC5-4122-97D7-2CB5BB51D49A}" sibTransId="{06456FDE-C3DE-4429-A5AF-50DB083B8A26}"/>
    <dgm:cxn modelId="{19598766-606D-4F34-B418-16DD31F2495E}" srcId="{24D801FC-AC44-497C-9677-1EC82FB46BC3}" destId="{483EDC7B-6F58-4ACE-A1D7-B7427451E934}" srcOrd="1" destOrd="0" parTransId="{C9C7C8D2-0F25-4CE8-AA61-0582CA077A1F}" sibTransId="{4CC756ED-2373-4D34-A2D1-F22B495A6A8D}"/>
    <dgm:cxn modelId="{0C3D8947-79EE-49A1-84DE-2C53B2F8476B}" type="presOf" srcId="{F4033D1E-B8CF-4F98-9E9E-9B33554D8A0A}" destId="{2F9ED4CC-395F-4A2D-A354-D816DFB2EBAE}" srcOrd="0" destOrd="0" presId="urn:microsoft.com/office/officeart/2005/8/layout/hierarchy3"/>
    <dgm:cxn modelId="{76F2B049-958B-41A1-AFDB-C5FC94388214}" type="presOf" srcId="{C506E9FC-38B0-42BD-A13F-0F8BC52AFCC8}" destId="{CA5EDA05-5255-44C7-93BE-C96075F64BB8}" srcOrd="0" destOrd="0" presId="urn:microsoft.com/office/officeart/2005/8/layout/hierarchy3"/>
    <dgm:cxn modelId="{31A1D06B-2DE0-41FA-A79B-1C8156758604}" srcId="{24D801FC-AC44-497C-9677-1EC82FB46BC3}" destId="{CC3F103C-2BFF-4547-8195-CF69A7277254}" srcOrd="2" destOrd="0" parTransId="{2ED7EA12-6B4C-46E2-9E11-CB4CB0B77778}" sibTransId="{DEAAB5CE-D416-4632-B776-9D38DF8B9992}"/>
    <dgm:cxn modelId="{8AE3146D-B1ED-4688-991A-59597780217D}" type="presOf" srcId="{EABE324E-A09A-4BBF-9ADF-C8A47AA99759}" destId="{FE63B4AB-D058-4F0B-87EA-9C7D32DD27C4}" srcOrd="0" destOrd="0" presId="urn:microsoft.com/office/officeart/2005/8/layout/hierarchy3"/>
    <dgm:cxn modelId="{E7996A4F-43AE-4356-9B39-3067B2322C65}" type="presOf" srcId="{24D801FC-AC44-497C-9677-1EC82FB46BC3}" destId="{088BD1D0-3661-49E8-9007-E5B8C1859DD4}" srcOrd="1" destOrd="0" presId="urn:microsoft.com/office/officeart/2005/8/layout/hierarchy3"/>
    <dgm:cxn modelId="{846C3851-739D-40E3-9EEE-D0051F6DB483}" type="presOf" srcId="{6103EF4E-D8A3-4941-8D7A-0A24ECF3094A}" destId="{E175C5FF-273D-430B-B490-D40DF205ABE4}" srcOrd="0" destOrd="0" presId="urn:microsoft.com/office/officeart/2005/8/layout/hierarchy3"/>
    <dgm:cxn modelId="{F4E6FF74-A594-4748-B71A-86707465F847}" type="presOf" srcId="{DDA6EE59-B0E7-4CDD-9BA3-35EA80A7D307}" destId="{1A9804DA-2248-4375-9671-128171021F79}" srcOrd="0" destOrd="0" presId="urn:microsoft.com/office/officeart/2005/8/layout/hierarchy3"/>
    <dgm:cxn modelId="{1E8D317B-B0B9-4C83-ACB4-DE46EBE318ED}" type="presOf" srcId="{83EF3DE1-57B7-420B-A32D-69831DB3AB75}" destId="{F41B303D-998E-4447-906B-F5C0EE2573D1}" srcOrd="0" destOrd="0" presId="urn:microsoft.com/office/officeart/2005/8/layout/hierarchy3"/>
    <dgm:cxn modelId="{0E369881-BD17-4C94-AFB4-59D550A8D17F}" type="presOf" srcId="{A9A798D1-EBF2-4565-8A1C-172FC8CF5F41}" destId="{7B04E9FD-CB8D-46A4-8C22-D09885575B54}" srcOrd="0" destOrd="0" presId="urn:microsoft.com/office/officeart/2005/8/layout/hierarchy3"/>
    <dgm:cxn modelId="{39C9CB82-2019-4544-916B-1B66AD511072}" srcId="{AF942702-16AA-4A66-837C-3BFE1ADB3063}" destId="{AFF64774-9327-42A5-AB12-D8810B96048A}" srcOrd="1" destOrd="0" parTransId="{C85E14D7-67A5-45D3-A40A-3C048A05CDC1}" sibTransId="{F0326528-93BF-4EFA-9AF7-5DD9B3CA0696}"/>
    <dgm:cxn modelId="{C3699B87-FBD1-4CB2-BEBC-06F432BD9563}" type="presOf" srcId="{12A1E3CF-1DBC-42B7-9168-E1B6001BB546}" destId="{B222982D-32BD-4A6C-A3E0-6E4E469A0EA5}" srcOrd="0" destOrd="0" presId="urn:microsoft.com/office/officeart/2005/8/layout/hierarchy3"/>
    <dgm:cxn modelId="{41066791-3B6F-40D7-8578-7A798CF7FBC5}" type="presOf" srcId="{92AFF0F8-8592-4275-ACC4-B2E362508A3B}" destId="{38AC787A-93CF-49A4-A52A-18CDBEF4AFB0}" srcOrd="1" destOrd="0" presId="urn:microsoft.com/office/officeart/2005/8/layout/hierarchy3"/>
    <dgm:cxn modelId="{59018D95-27F5-4452-B67D-38AE19B387A7}" srcId="{24D801FC-AC44-497C-9677-1EC82FB46BC3}" destId="{CECE5D6A-411A-4B52-8F91-AE790751A48C}" srcOrd="0" destOrd="0" parTransId="{A2A5154E-820D-403A-8BA9-26AD549C6823}" sibTransId="{F3D9403E-BB80-4A29-93F3-9C93468C424E}"/>
    <dgm:cxn modelId="{72388F9D-4D23-450E-A971-C6F6998DD56A}" type="presOf" srcId="{AF942702-16AA-4A66-837C-3BFE1ADB3063}" destId="{1EEFDDE0-C09B-409B-8E10-1555A9B2088F}" srcOrd="0" destOrd="0" presId="urn:microsoft.com/office/officeart/2005/8/layout/hierarchy3"/>
    <dgm:cxn modelId="{4EAB4BA4-1E31-4BBA-BB77-CA08C8C96330}" type="presOf" srcId="{2ED7EA12-6B4C-46E2-9E11-CB4CB0B77778}" destId="{7688E630-85F4-4BB1-9CEA-1D393CB669FB}" srcOrd="0" destOrd="0" presId="urn:microsoft.com/office/officeart/2005/8/layout/hierarchy3"/>
    <dgm:cxn modelId="{419703A6-D773-4A42-BE76-8C1DC036A6E7}" type="presOf" srcId="{13E88BCC-C311-421A-9858-601606EF43BD}" destId="{E0A9251F-4378-452E-886E-13C6CEC4C9DE}" srcOrd="0" destOrd="0" presId="urn:microsoft.com/office/officeart/2005/8/layout/hierarchy3"/>
    <dgm:cxn modelId="{AB60E4A6-45E7-4AE5-8680-88EE9982A044}" srcId="{92AFF0F8-8592-4275-ACC4-B2E362508A3B}" destId="{A9A798D1-EBF2-4565-8A1C-172FC8CF5F41}" srcOrd="1" destOrd="0" parTransId="{13E88BCC-C311-421A-9858-601606EF43BD}" sibTransId="{FE877F97-2E9B-4954-8B13-F2EAF540AD9E}"/>
    <dgm:cxn modelId="{C4A291B3-024D-48B8-88AC-8800539B8467}" srcId="{9BC39980-1D75-474E-A42A-A9861B11D20C}" destId="{83EF3DE1-57B7-420B-A32D-69831DB3AB75}" srcOrd="0" destOrd="0" parTransId="{DE2B7BAD-3014-4EF1-B818-7CE9F0877EAA}" sibTransId="{DFC4377C-D192-4F3E-A2C3-41CBDCDE0418}"/>
    <dgm:cxn modelId="{22A2ABBF-1329-45F9-9D6E-5AF9274DB13B}" srcId="{92AFF0F8-8592-4275-ACC4-B2E362508A3B}" destId="{6103EF4E-D8A3-4941-8D7A-0A24ECF3094A}" srcOrd="2" destOrd="0" parTransId="{876041B8-0BA9-45BD-A1C4-11462DD1D282}" sibTransId="{95C1ED04-537C-4715-AD5C-541331B2FC00}"/>
    <dgm:cxn modelId="{A5DB6DC1-8D85-42A4-B919-0FEA5814A20D}" srcId="{AF942702-16AA-4A66-837C-3BFE1ADB3063}" destId="{EABE324E-A09A-4BBF-9ADF-C8A47AA99759}" srcOrd="0" destOrd="0" parTransId="{76309884-53CE-4C3D-AEA5-5C568E38BC47}" sibTransId="{9A7418BD-1044-48C8-AF35-9BD00191DAE7}"/>
    <dgm:cxn modelId="{50B784C1-CE2D-4539-81BA-519AE18237AC}" type="presOf" srcId="{E2DFB665-0E55-4107-9D21-843539F544ED}" destId="{2E915F7C-67AB-4B18-9847-F97096491EBB}" srcOrd="0" destOrd="0" presId="urn:microsoft.com/office/officeart/2005/8/layout/hierarchy3"/>
    <dgm:cxn modelId="{B380F8C4-2DFC-4C0B-B7D3-3536366AFD7B}" srcId="{83EF3DE1-57B7-420B-A32D-69831DB3AB75}" destId="{F4033D1E-B8CF-4F98-9E9E-9B33554D8A0A}" srcOrd="0" destOrd="0" parTransId="{6AE9E714-C767-4434-9A0D-98B8CCC77E74}" sibTransId="{34B7FBDC-421E-4B3C-BAFA-FF51458FE7FE}"/>
    <dgm:cxn modelId="{5D938FD9-C396-4AC4-A02B-749812CAABC2}" type="presOf" srcId="{1880EAC7-B2C1-48F0-8461-59DB63FAD393}" destId="{9BF7475B-53FA-45DE-87D6-F7FD28C95586}" srcOrd="0" destOrd="0" presId="urn:microsoft.com/office/officeart/2005/8/layout/hierarchy3"/>
    <dgm:cxn modelId="{F733CCE3-5D0A-47D2-A6EE-E7A7E6C6DA9C}" type="presOf" srcId="{A2A5154E-820D-403A-8BA9-26AD549C6823}" destId="{CE9CCA37-C2EA-494A-8044-E2BC37B77033}" srcOrd="0" destOrd="0" presId="urn:microsoft.com/office/officeart/2005/8/layout/hierarchy3"/>
    <dgm:cxn modelId="{3EE066E6-9EFA-4FAC-B0ED-EFCF8D7AB1C6}" srcId="{9BC39980-1D75-474E-A42A-A9861B11D20C}" destId="{AF942702-16AA-4A66-837C-3BFE1ADB3063}" srcOrd="1" destOrd="0" parTransId="{30C989E9-28B3-4B5D-B197-FD0FF48CE7BE}" sibTransId="{91700A69-40FF-4FCE-AE5F-0525A0396DBC}"/>
    <dgm:cxn modelId="{BB6398E7-5A8F-4F0C-8B33-75B1A6B5C3B3}" type="presOf" srcId="{AFF64774-9327-42A5-AB12-D8810B96048A}" destId="{BE477C27-2116-404B-BB05-F40D2919158A}" srcOrd="0" destOrd="0" presId="urn:microsoft.com/office/officeart/2005/8/layout/hierarchy3"/>
    <dgm:cxn modelId="{83CF00EC-1E00-4571-86F8-A4FE5C4B7E66}" type="presOf" srcId="{CECE5D6A-411A-4B52-8F91-AE790751A48C}" destId="{A546E1B7-79DB-404A-ADF0-D21038BE6D77}" srcOrd="0" destOrd="0" presId="urn:microsoft.com/office/officeart/2005/8/layout/hierarchy3"/>
    <dgm:cxn modelId="{8FD0E9EF-ABA5-4DE4-8896-4FE107426A8E}" type="presOf" srcId="{24D801FC-AC44-497C-9677-1EC82FB46BC3}" destId="{6FEC18CD-1C7C-4612-9949-18B55C7A2316}" srcOrd="0" destOrd="0" presId="urn:microsoft.com/office/officeart/2005/8/layout/hierarchy3"/>
    <dgm:cxn modelId="{67E805F1-3919-4299-84C9-86F5A684004C}" srcId="{9BC39980-1D75-474E-A42A-A9861B11D20C}" destId="{92AFF0F8-8592-4275-ACC4-B2E362508A3B}" srcOrd="2" destOrd="0" parTransId="{F07E8B9E-5635-43F5-BF24-88F8E1E34D97}" sibTransId="{B18BAA35-E56A-4B89-9868-B76513F737A2}"/>
    <dgm:cxn modelId="{6B9C29F1-E01A-4D8B-8CAE-F95E57A863C2}" srcId="{9BC39980-1D75-474E-A42A-A9861B11D20C}" destId="{24D801FC-AC44-497C-9677-1EC82FB46BC3}" srcOrd="3" destOrd="0" parTransId="{5EAE4EDA-1928-4034-95E0-092307229821}" sibTransId="{057B83D8-FA66-4491-B1F5-25F2459F1E60}"/>
    <dgm:cxn modelId="{939D26F4-0C31-4C9A-BA2F-963B3FF9D142}" type="presOf" srcId="{C85E14D7-67A5-45D3-A40A-3C048A05CDC1}" destId="{7214BE7B-DEED-4C3B-ADDF-B655E606468C}" srcOrd="0" destOrd="0" presId="urn:microsoft.com/office/officeart/2005/8/layout/hierarchy3"/>
    <dgm:cxn modelId="{C98D65F5-26ED-477D-9D7B-341F80F23584}" type="presOf" srcId="{76309884-53CE-4C3D-AEA5-5C568E38BC47}" destId="{CD87D47C-456C-418E-BE13-74EE5E9772DB}" srcOrd="0" destOrd="0" presId="urn:microsoft.com/office/officeart/2005/8/layout/hierarchy3"/>
    <dgm:cxn modelId="{C1D8927E-609D-4669-8FF3-30B5DE95D7A4}" type="presParOf" srcId="{565D4022-87FD-466E-835C-C923FA88D6BB}" destId="{C6DFD4EE-E69D-4176-98BA-966200B2EB96}" srcOrd="0" destOrd="0" presId="urn:microsoft.com/office/officeart/2005/8/layout/hierarchy3"/>
    <dgm:cxn modelId="{56B3A5D3-F442-43D3-9C3D-1E0BB5B7994A}" type="presParOf" srcId="{C6DFD4EE-E69D-4176-98BA-966200B2EB96}" destId="{5A3BC6B8-6A55-4F19-A951-A17B5C3B4649}" srcOrd="0" destOrd="0" presId="urn:microsoft.com/office/officeart/2005/8/layout/hierarchy3"/>
    <dgm:cxn modelId="{5D03C40A-B026-4901-B5F0-C1AEF241BDDB}" type="presParOf" srcId="{5A3BC6B8-6A55-4F19-A951-A17B5C3B4649}" destId="{F41B303D-998E-4447-906B-F5C0EE2573D1}" srcOrd="0" destOrd="0" presId="urn:microsoft.com/office/officeart/2005/8/layout/hierarchy3"/>
    <dgm:cxn modelId="{083F78E3-C947-438C-9CED-441EE0660D6D}" type="presParOf" srcId="{5A3BC6B8-6A55-4F19-A951-A17B5C3B4649}" destId="{2F830582-46F4-4995-8523-671DC1D8A67B}" srcOrd="1" destOrd="0" presId="urn:microsoft.com/office/officeart/2005/8/layout/hierarchy3"/>
    <dgm:cxn modelId="{0AC205AF-FD2D-4732-A346-85D0801A24F3}" type="presParOf" srcId="{C6DFD4EE-E69D-4176-98BA-966200B2EB96}" destId="{40245CF5-FCCA-463F-A85A-D978C4CC84BC}" srcOrd="1" destOrd="0" presId="urn:microsoft.com/office/officeart/2005/8/layout/hierarchy3"/>
    <dgm:cxn modelId="{32B7EE3E-830C-4F54-83F1-F4214C7205E8}" type="presParOf" srcId="{40245CF5-FCCA-463F-A85A-D978C4CC84BC}" destId="{DEE64E9E-D504-49AE-AAF8-0475A17ADD5D}" srcOrd="0" destOrd="0" presId="urn:microsoft.com/office/officeart/2005/8/layout/hierarchy3"/>
    <dgm:cxn modelId="{6460F17E-23A8-4725-8991-F569FF6720D5}" type="presParOf" srcId="{40245CF5-FCCA-463F-A85A-D978C4CC84BC}" destId="{2F9ED4CC-395F-4A2D-A354-D816DFB2EBAE}" srcOrd="1" destOrd="0" presId="urn:microsoft.com/office/officeart/2005/8/layout/hierarchy3"/>
    <dgm:cxn modelId="{43F37BD8-54F2-4851-89DE-31579B199A1E}" type="presParOf" srcId="{40245CF5-FCCA-463F-A85A-D978C4CC84BC}" destId="{B222982D-32BD-4A6C-A3E0-6E4E469A0EA5}" srcOrd="2" destOrd="0" presId="urn:microsoft.com/office/officeart/2005/8/layout/hierarchy3"/>
    <dgm:cxn modelId="{88B21879-2085-44F9-9D10-440E7B370E32}" type="presParOf" srcId="{40245CF5-FCCA-463F-A85A-D978C4CC84BC}" destId="{9A606B5D-D902-4946-9B3A-AF7A5477E171}" srcOrd="3" destOrd="0" presId="urn:microsoft.com/office/officeart/2005/8/layout/hierarchy3"/>
    <dgm:cxn modelId="{3D0D3CED-C07A-4CC1-AE47-A50C67DAA23C}" type="presParOf" srcId="{40245CF5-FCCA-463F-A85A-D978C4CC84BC}" destId="{2E915F7C-67AB-4B18-9847-F97096491EBB}" srcOrd="4" destOrd="0" presId="urn:microsoft.com/office/officeart/2005/8/layout/hierarchy3"/>
    <dgm:cxn modelId="{2B153539-98B4-42BA-9741-D46C3184205A}" type="presParOf" srcId="{40245CF5-FCCA-463F-A85A-D978C4CC84BC}" destId="{CA5EDA05-5255-44C7-93BE-C96075F64BB8}" srcOrd="5" destOrd="0" presId="urn:microsoft.com/office/officeart/2005/8/layout/hierarchy3"/>
    <dgm:cxn modelId="{11B1EAC8-085F-46B0-A441-EA5A632EAB9A}" type="presParOf" srcId="{565D4022-87FD-466E-835C-C923FA88D6BB}" destId="{170C85E6-8074-4305-A058-79745B4DF371}" srcOrd="1" destOrd="0" presId="urn:microsoft.com/office/officeart/2005/8/layout/hierarchy3"/>
    <dgm:cxn modelId="{2ACA1A66-6A3A-418D-B57C-8AE6725198F0}" type="presParOf" srcId="{170C85E6-8074-4305-A058-79745B4DF371}" destId="{E61EBF4F-E57F-4376-9ABC-0166AC1823EA}" srcOrd="0" destOrd="0" presId="urn:microsoft.com/office/officeart/2005/8/layout/hierarchy3"/>
    <dgm:cxn modelId="{2937D866-91C1-4364-AC1C-E10629B1E83A}" type="presParOf" srcId="{E61EBF4F-E57F-4376-9ABC-0166AC1823EA}" destId="{1EEFDDE0-C09B-409B-8E10-1555A9B2088F}" srcOrd="0" destOrd="0" presId="urn:microsoft.com/office/officeart/2005/8/layout/hierarchy3"/>
    <dgm:cxn modelId="{D721D5B5-8E61-407C-86F8-760AAC0529DD}" type="presParOf" srcId="{E61EBF4F-E57F-4376-9ABC-0166AC1823EA}" destId="{072C43EF-A839-4D59-AD27-91E56538D4DB}" srcOrd="1" destOrd="0" presId="urn:microsoft.com/office/officeart/2005/8/layout/hierarchy3"/>
    <dgm:cxn modelId="{607A3CD7-1F78-46AA-94C8-E3758749D5FE}" type="presParOf" srcId="{170C85E6-8074-4305-A058-79745B4DF371}" destId="{2F60905E-D94D-4D80-B710-45CABCF10AC7}" srcOrd="1" destOrd="0" presId="urn:microsoft.com/office/officeart/2005/8/layout/hierarchy3"/>
    <dgm:cxn modelId="{3C481E99-E18C-42A6-B8ED-B98E9D87C009}" type="presParOf" srcId="{2F60905E-D94D-4D80-B710-45CABCF10AC7}" destId="{CD87D47C-456C-418E-BE13-74EE5E9772DB}" srcOrd="0" destOrd="0" presId="urn:microsoft.com/office/officeart/2005/8/layout/hierarchy3"/>
    <dgm:cxn modelId="{B89C0330-8DA8-4650-9EB2-5DFC4A332DF6}" type="presParOf" srcId="{2F60905E-D94D-4D80-B710-45CABCF10AC7}" destId="{FE63B4AB-D058-4F0B-87EA-9C7D32DD27C4}" srcOrd="1" destOrd="0" presId="urn:microsoft.com/office/officeart/2005/8/layout/hierarchy3"/>
    <dgm:cxn modelId="{1DD2921A-76CE-46F0-A226-67BA8CDCA51A}" type="presParOf" srcId="{2F60905E-D94D-4D80-B710-45CABCF10AC7}" destId="{7214BE7B-DEED-4C3B-ADDF-B655E606468C}" srcOrd="2" destOrd="0" presId="urn:microsoft.com/office/officeart/2005/8/layout/hierarchy3"/>
    <dgm:cxn modelId="{B1DCD123-20BA-403F-9B75-5C4F223440A5}" type="presParOf" srcId="{2F60905E-D94D-4D80-B710-45CABCF10AC7}" destId="{BE477C27-2116-404B-BB05-F40D2919158A}" srcOrd="3" destOrd="0" presId="urn:microsoft.com/office/officeart/2005/8/layout/hierarchy3"/>
    <dgm:cxn modelId="{56EDEF21-CC81-492F-AFF8-1011155F7C5C}" type="presParOf" srcId="{2F60905E-D94D-4D80-B710-45CABCF10AC7}" destId="{963B1D66-C529-4CCB-AAB2-F0B3D91DBC9B}" srcOrd="4" destOrd="0" presId="urn:microsoft.com/office/officeart/2005/8/layout/hierarchy3"/>
    <dgm:cxn modelId="{89350546-4270-42B9-80C8-371A88EFC80E}" type="presParOf" srcId="{2F60905E-D94D-4D80-B710-45CABCF10AC7}" destId="{1A9804DA-2248-4375-9671-128171021F79}" srcOrd="5" destOrd="0" presId="urn:microsoft.com/office/officeart/2005/8/layout/hierarchy3"/>
    <dgm:cxn modelId="{1D1A07B7-1382-4347-95CA-6A8E1D854E9A}" type="presParOf" srcId="{565D4022-87FD-466E-835C-C923FA88D6BB}" destId="{1FA162DF-6A6B-481B-8C56-C11D6C745096}" srcOrd="2" destOrd="0" presId="urn:microsoft.com/office/officeart/2005/8/layout/hierarchy3"/>
    <dgm:cxn modelId="{384A5D1A-84BB-4C8F-81FE-C057E82E02E3}" type="presParOf" srcId="{1FA162DF-6A6B-481B-8C56-C11D6C745096}" destId="{FDA92F20-874E-4546-A0DB-E9492EADF46C}" srcOrd="0" destOrd="0" presId="urn:microsoft.com/office/officeart/2005/8/layout/hierarchy3"/>
    <dgm:cxn modelId="{A3694591-C1E7-4296-A104-3DD806E020FD}" type="presParOf" srcId="{FDA92F20-874E-4546-A0DB-E9492EADF46C}" destId="{5DDC5760-D608-4655-AE0C-15637AE09BE0}" srcOrd="0" destOrd="0" presId="urn:microsoft.com/office/officeart/2005/8/layout/hierarchy3"/>
    <dgm:cxn modelId="{BCC22597-5FB5-470F-9AE3-641AE6637FB9}" type="presParOf" srcId="{FDA92F20-874E-4546-A0DB-E9492EADF46C}" destId="{38AC787A-93CF-49A4-A52A-18CDBEF4AFB0}" srcOrd="1" destOrd="0" presId="urn:microsoft.com/office/officeart/2005/8/layout/hierarchy3"/>
    <dgm:cxn modelId="{D4E69C6E-801D-4600-8087-AFDD0E230FBC}" type="presParOf" srcId="{1FA162DF-6A6B-481B-8C56-C11D6C745096}" destId="{806155CB-2780-401B-88E0-077FB4C1015D}" srcOrd="1" destOrd="0" presId="urn:microsoft.com/office/officeart/2005/8/layout/hierarchy3"/>
    <dgm:cxn modelId="{E047175C-A3AC-49D5-AA5C-858602B22875}" type="presParOf" srcId="{806155CB-2780-401B-88E0-077FB4C1015D}" destId="{0302129F-1D30-4BA0-B682-1C9479B61488}" srcOrd="0" destOrd="0" presId="urn:microsoft.com/office/officeart/2005/8/layout/hierarchy3"/>
    <dgm:cxn modelId="{D45998BD-4401-4C3A-9704-FA45FDAD9359}" type="presParOf" srcId="{806155CB-2780-401B-88E0-077FB4C1015D}" destId="{9BF7475B-53FA-45DE-87D6-F7FD28C95586}" srcOrd="1" destOrd="0" presId="urn:microsoft.com/office/officeart/2005/8/layout/hierarchy3"/>
    <dgm:cxn modelId="{6D0CCEBC-B1DF-494C-B549-7F18A94BD1A9}" type="presParOf" srcId="{806155CB-2780-401B-88E0-077FB4C1015D}" destId="{E0A9251F-4378-452E-886E-13C6CEC4C9DE}" srcOrd="2" destOrd="0" presId="urn:microsoft.com/office/officeart/2005/8/layout/hierarchy3"/>
    <dgm:cxn modelId="{7BCC19C9-C0C7-4069-8751-58C48DA01E70}" type="presParOf" srcId="{806155CB-2780-401B-88E0-077FB4C1015D}" destId="{7B04E9FD-CB8D-46A4-8C22-D09885575B54}" srcOrd="3" destOrd="0" presId="urn:microsoft.com/office/officeart/2005/8/layout/hierarchy3"/>
    <dgm:cxn modelId="{C87D3C74-2371-4335-AC41-29F071A4D202}" type="presParOf" srcId="{806155CB-2780-401B-88E0-077FB4C1015D}" destId="{7487FF15-6FA0-4407-A12D-A4719F306A6B}" srcOrd="4" destOrd="0" presId="urn:microsoft.com/office/officeart/2005/8/layout/hierarchy3"/>
    <dgm:cxn modelId="{BAD24139-3D47-4148-BB2C-BAFA2CE2CBDA}" type="presParOf" srcId="{806155CB-2780-401B-88E0-077FB4C1015D}" destId="{E175C5FF-273D-430B-B490-D40DF205ABE4}" srcOrd="5" destOrd="0" presId="urn:microsoft.com/office/officeart/2005/8/layout/hierarchy3"/>
    <dgm:cxn modelId="{7F46ABB7-E80C-4AB2-8006-3AE39EFD1BEE}" type="presParOf" srcId="{565D4022-87FD-466E-835C-C923FA88D6BB}" destId="{B964B1DB-4AB0-451A-8972-56D7EC1B7E9D}" srcOrd="3" destOrd="0" presId="urn:microsoft.com/office/officeart/2005/8/layout/hierarchy3"/>
    <dgm:cxn modelId="{F9D27238-2D13-4631-83AF-49978B9B2359}" type="presParOf" srcId="{B964B1DB-4AB0-451A-8972-56D7EC1B7E9D}" destId="{FB753067-37CB-445F-8497-30F4D5BE4519}" srcOrd="0" destOrd="0" presId="urn:microsoft.com/office/officeart/2005/8/layout/hierarchy3"/>
    <dgm:cxn modelId="{42CB138D-BAFF-4145-8CEA-74596682F036}" type="presParOf" srcId="{FB753067-37CB-445F-8497-30F4D5BE4519}" destId="{6FEC18CD-1C7C-4612-9949-18B55C7A2316}" srcOrd="0" destOrd="0" presId="urn:microsoft.com/office/officeart/2005/8/layout/hierarchy3"/>
    <dgm:cxn modelId="{ADF99C96-73AD-4F13-8FEE-D3606FAB5B9C}" type="presParOf" srcId="{FB753067-37CB-445F-8497-30F4D5BE4519}" destId="{088BD1D0-3661-49E8-9007-E5B8C1859DD4}" srcOrd="1" destOrd="0" presId="urn:microsoft.com/office/officeart/2005/8/layout/hierarchy3"/>
    <dgm:cxn modelId="{436235D0-84D6-4606-AE12-A9ACD80E95BB}" type="presParOf" srcId="{B964B1DB-4AB0-451A-8972-56D7EC1B7E9D}" destId="{3A33D3D4-6A35-48B9-9156-525E96FFBC14}" srcOrd="1" destOrd="0" presId="urn:microsoft.com/office/officeart/2005/8/layout/hierarchy3"/>
    <dgm:cxn modelId="{A17BDEAA-CCCC-4281-A235-E05F9E92C70D}" type="presParOf" srcId="{3A33D3D4-6A35-48B9-9156-525E96FFBC14}" destId="{CE9CCA37-C2EA-494A-8044-E2BC37B77033}" srcOrd="0" destOrd="0" presId="urn:microsoft.com/office/officeart/2005/8/layout/hierarchy3"/>
    <dgm:cxn modelId="{79BCF5DE-65D8-427B-A0F7-3035F33F8094}" type="presParOf" srcId="{3A33D3D4-6A35-48B9-9156-525E96FFBC14}" destId="{A546E1B7-79DB-404A-ADF0-D21038BE6D77}" srcOrd="1" destOrd="0" presId="urn:microsoft.com/office/officeart/2005/8/layout/hierarchy3"/>
    <dgm:cxn modelId="{FAD67160-8DFE-42E2-A811-EC1FB0C04EBC}" type="presParOf" srcId="{3A33D3D4-6A35-48B9-9156-525E96FFBC14}" destId="{2C764158-55F3-44CD-90B9-FE0D0FD4926E}" srcOrd="2" destOrd="0" presId="urn:microsoft.com/office/officeart/2005/8/layout/hierarchy3"/>
    <dgm:cxn modelId="{32F8AE56-A2D6-42D9-BAF0-762E096CFFC7}" type="presParOf" srcId="{3A33D3D4-6A35-48B9-9156-525E96FFBC14}" destId="{D8737CCB-2EBA-408A-B94C-AFB7D2404E89}" srcOrd="3" destOrd="0" presId="urn:microsoft.com/office/officeart/2005/8/layout/hierarchy3"/>
    <dgm:cxn modelId="{492A753B-15BE-4050-9449-A023D5F18D4A}" type="presParOf" srcId="{3A33D3D4-6A35-48B9-9156-525E96FFBC14}" destId="{7688E630-85F4-4BB1-9CEA-1D393CB669FB}" srcOrd="4" destOrd="0" presId="urn:microsoft.com/office/officeart/2005/8/layout/hierarchy3"/>
    <dgm:cxn modelId="{F646A575-DEB1-4ECF-A037-41C00DDFB61D}" type="presParOf" srcId="{3A33D3D4-6A35-48B9-9156-525E96FFBC14}" destId="{1FB6E957-CCAD-4D1F-8094-A267198653FD}" srcOrd="5" destOrd="0" presId="urn:microsoft.com/office/officeart/2005/8/layout/hierarchy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7368D0B-0430-4A91-94E1-D0097F6BB4F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017CA063-7EEA-489C-87A9-E2147DD0A5AD}">
      <dgm:prSet custT="1"/>
      <dgm:spPr>
        <a:solidFill>
          <a:schemeClr val="accent2"/>
        </a:solidFill>
        <a:ln>
          <a:noFill/>
        </a:ln>
      </dgm:spPr>
      <dgm:t>
        <a:bodyPr/>
        <a:lstStyle/>
        <a:p>
          <a:pPr algn="ctr"/>
          <a:r>
            <a:rPr lang="en-US" sz="2000" b="1"/>
            <a:t>Runtime</a:t>
          </a:r>
          <a:r>
            <a:rPr lang="en-US" sz="2000"/>
            <a:t> Errors</a:t>
          </a:r>
        </a:p>
      </dgm:t>
    </dgm:pt>
    <dgm:pt modelId="{E0B8EF2F-113F-4507-B8FC-3374D37646B0}" type="parTrans" cxnId="{27388B70-3F24-45ED-AE22-CF9A1F9E0AC5}">
      <dgm:prSet/>
      <dgm:spPr/>
      <dgm:t>
        <a:bodyPr/>
        <a:lstStyle/>
        <a:p>
          <a:endParaRPr lang="en-US" sz="2000"/>
        </a:p>
      </dgm:t>
    </dgm:pt>
    <dgm:pt modelId="{BD1C0346-86D3-4E46-82D3-0636A98D6820}" type="sibTrans" cxnId="{27388B70-3F24-45ED-AE22-CF9A1F9E0AC5}">
      <dgm:prSet/>
      <dgm:spPr/>
      <dgm:t>
        <a:bodyPr/>
        <a:lstStyle/>
        <a:p>
          <a:endParaRPr lang="en-US" sz="2000"/>
        </a:p>
      </dgm:t>
    </dgm:pt>
    <dgm:pt modelId="{3A25F396-3993-40C8-ACE1-6100753554C6}">
      <dgm:prSet custT="1"/>
      <dgm:spPr/>
      <dgm:t>
        <a:bodyPr/>
        <a:lstStyle/>
        <a:p>
          <a:pPr algn="ctr"/>
          <a:r>
            <a:rPr lang="en-US" sz="2000" b="1"/>
            <a:t>Design</a:t>
          </a:r>
          <a:r>
            <a:rPr lang="en-US" sz="2000"/>
            <a:t> Time Errors</a:t>
          </a:r>
        </a:p>
      </dgm:t>
    </dgm:pt>
    <dgm:pt modelId="{9F443CF8-BAD5-4D7B-8C3F-00C5B2AE8846}" type="parTrans" cxnId="{B0D103B2-7607-4880-AF30-065C2C18CF0D}">
      <dgm:prSet/>
      <dgm:spPr/>
      <dgm:t>
        <a:bodyPr/>
        <a:lstStyle/>
        <a:p>
          <a:endParaRPr lang="en-US" sz="2000"/>
        </a:p>
      </dgm:t>
    </dgm:pt>
    <dgm:pt modelId="{E68B217B-2C11-448A-B532-3BDBE2C3ACEB}" type="sibTrans" cxnId="{B0D103B2-7607-4880-AF30-065C2C18CF0D}">
      <dgm:prSet/>
      <dgm:spPr/>
      <dgm:t>
        <a:bodyPr/>
        <a:lstStyle/>
        <a:p>
          <a:endParaRPr lang="en-US" sz="2000"/>
        </a:p>
      </dgm:t>
    </dgm:pt>
    <dgm:pt modelId="{DFC8C568-FF11-4699-AEFE-46FE489A4FFE}">
      <dgm:prSet custT="1"/>
      <dgm:spPr/>
      <dgm:t>
        <a:bodyPr/>
        <a:lstStyle/>
        <a:p>
          <a:r>
            <a:rPr lang="en-US" sz="2000" b="1"/>
            <a:t>Syntax</a:t>
          </a:r>
          <a:r>
            <a:rPr lang="en-US" sz="2000"/>
            <a:t> errors</a:t>
          </a:r>
          <a:endParaRPr lang="en-US" sz="2000" b="1"/>
        </a:p>
      </dgm:t>
    </dgm:pt>
    <dgm:pt modelId="{A1488A11-3EB0-43EC-ADD8-CE32EAC799D1}" type="parTrans" cxnId="{A016E30E-1A39-474E-BF9E-0FDBB3C1C509}">
      <dgm:prSet/>
      <dgm:spPr/>
      <dgm:t>
        <a:bodyPr/>
        <a:lstStyle/>
        <a:p>
          <a:endParaRPr lang="en-US" sz="2000"/>
        </a:p>
      </dgm:t>
    </dgm:pt>
    <dgm:pt modelId="{627EABCD-1292-4970-B9FF-F0B08E5E2061}" type="sibTrans" cxnId="{A016E30E-1A39-474E-BF9E-0FDBB3C1C509}">
      <dgm:prSet/>
      <dgm:spPr/>
      <dgm:t>
        <a:bodyPr/>
        <a:lstStyle/>
        <a:p>
          <a:endParaRPr lang="en-US" sz="2000"/>
        </a:p>
      </dgm:t>
    </dgm:pt>
    <dgm:pt modelId="{5867008F-45EB-47D8-A49B-B68A14ABF026}">
      <dgm:prSet custT="1"/>
      <dgm:spPr/>
      <dgm:t>
        <a:bodyPr/>
        <a:lstStyle/>
        <a:p>
          <a:pPr algn="l"/>
          <a:r>
            <a:rPr lang="en-US" sz="2000"/>
            <a:t>Occur during code </a:t>
          </a:r>
          <a:r>
            <a:rPr lang="en-US" sz="2000" b="1"/>
            <a:t>execution</a:t>
          </a:r>
          <a:endParaRPr lang="en-US" sz="2000"/>
        </a:p>
      </dgm:t>
    </dgm:pt>
    <dgm:pt modelId="{DA312F54-835A-4332-B099-27EB24A0EBA4}" type="parTrans" cxnId="{6D0F4DE8-446B-433E-8A9F-AF53FAB4D3C0}">
      <dgm:prSet/>
      <dgm:spPr/>
      <dgm:t>
        <a:bodyPr/>
        <a:lstStyle/>
        <a:p>
          <a:endParaRPr lang="en-US"/>
        </a:p>
      </dgm:t>
    </dgm:pt>
    <dgm:pt modelId="{CAC109EA-810A-487C-AEE7-58174DEDA450}" type="sibTrans" cxnId="{6D0F4DE8-446B-433E-8A9F-AF53FAB4D3C0}">
      <dgm:prSet/>
      <dgm:spPr/>
      <dgm:t>
        <a:bodyPr/>
        <a:lstStyle/>
        <a:p>
          <a:endParaRPr lang="en-US"/>
        </a:p>
      </dgm:t>
    </dgm:pt>
    <dgm:pt modelId="{39C3F611-3401-4A7C-9183-36772990397F}">
      <dgm:prSet custT="1"/>
      <dgm:spPr/>
      <dgm:t>
        <a:bodyPr/>
        <a:lstStyle/>
        <a:p>
          <a:pPr algn="l"/>
          <a:r>
            <a:rPr lang="en-US" sz="2000" b="0"/>
            <a:t>Creates</a:t>
          </a:r>
          <a:r>
            <a:rPr lang="en-US" sz="2000"/>
            <a:t> an </a:t>
          </a:r>
          <a:r>
            <a:rPr lang="en-US" sz="2000" b="1"/>
            <a:t>exception</a:t>
          </a:r>
          <a:r>
            <a:rPr lang="en-US" sz="2000"/>
            <a:t> object in the </a:t>
          </a:r>
          <a:r>
            <a:rPr lang="en-US" sz="2000" b="1"/>
            <a:t>$Error </a:t>
          </a:r>
          <a:r>
            <a:rPr lang="en-US" sz="2000"/>
            <a:t>automatic variable</a:t>
          </a:r>
        </a:p>
      </dgm:t>
    </dgm:pt>
    <dgm:pt modelId="{12A7EED4-5022-4DA4-AB34-8C54C688B6F8}" type="parTrans" cxnId="{C285F46A-7D08-4583-A7E9-ECAD40E22D99}">
      <dgm:prSet/>
      <dgm:spPr/>
      <dgm:t>
        <a:bodyPr/>
        <a:lstStyle/>
        <a:p>
          <a:endParaRPr lang="en-US"/>
        </a:p>
      </dgm:t>
    </dgm:pt>
    <dgm:pt modelId="{D87F634A-9180-4F43-97AF-2440A209A716}" type="sibTrans" cxnId="{C285F46A-7D08-4583-A7E9-ECAD40E22D99}">
      <dgm:prSet/>
      <dgm:spPr/>
      <dgm:t>
        <a:bodyPr/>
        <a:lstStyle/>
        <a:p>
          <a:endParaRPr lang="en-US"/>
        </a:p>
      </dgm:t>
    </dgm:pt>
    <dgm:pt modelId="{4BA82668-2AB1-4BF9-9E92-8B5E831D0A1E}">
      <dgm:prSet custT="1"/>
      <dgm:spPr/>
      <dgm:t>
        <a:bodyPr/>
        <a:lstStyle/>
        <a:p>
          <a:r>
            <a:rPr lang="en-US" sz="2000" b="1"/>
            <a:t>No </a:t>
          </a:r>
          <a:r>
            <a:rPr lang="en-US" sz="2000" b="0"/>
            <a:t>exception</a:t>
          </a:r>
          <a:r>
            <a:rPr lang="en-US" sz="2000" b="1"/>
            <a:t> </a:t>
          </a:r>
          <a:r>
            <a:rPr lang="en-US" sz="2000" b="0"/>
            <a:t>object created</a:t>
          </a:r>
          <a:endParaRPr lang="en-US" sz="2000" b="1"/>
        </a:p>
      </dgm:t>
    </dgm:pt>
    <dgm:pt modelId="{82DBD6D3-4904-49FA-9169-0CDA1F38733B}" type="parTrans" cxnId="{62B1D293-68CE-4D22-A2F7-B8D6CD9D8DE2}">
      <dgm:prSet/>
      <dgm:spPr/>
      <dgm:t>
        <a:bodyPr/>
        <a:lstStyle/>
        <a:p>
          <a:endParaRPr lang="en-US"/>
        </a:p>
      </dgm:t>
    </dgm:pt>
    <dgm:pt modelId="{52B6086E-E335-417D-A26A-A69DA6602BB7}" type="sibTrans" cxnId="{62B1D293-68CE-4D22-A2F7-B8D6CD9D8DE2}">
      <dgm:prSet/>
      <dgm:spPr/>
      <dgm:t>
        <a:bodyPr/>
        <a:lstStyle/>
        <a:p>
          <a:endParaRPr lang="en-US"/>
        </a:p>
      </dgm:t>
    </dgm:pt>
    <dgm:pt modelId="{B9EA77E2-8621-452E-8B5A-AC35DD71CD00}">
      <dgm:prSet custT="1"/>
      <dgm:spPr/>
      <dgm:t>
        <a:bodyPr/>
        <a:lstStyle/>
        <a:p>
          <a:r>
            <a:rPr lang="en-US" sz="2000" b="0"/>
            <a:t>Code </a:t>
          </a:r>
          <a:r>
            <a:rPr lang="en-US" sz="2000" b="1"/>
            <a:t>unable</a:t>
          </a:r>
          <a:r>
            <a:rPr lang="en-US" sz="2000" b="0"/>
            <a:t> to execute</a:t>
          </a:r>
        </a:p>
      </dgm:t>
    </dgm:pt>
    <dgm:pt modelId="{DC434A08-C60C-440D-BB28-EB8A527F5CB0}" type="parTrans" cxnId="{0567CAC7-15BF-4CA8-B57C-C4CF37AD0F60}">
      <dgm:prSet/>
      <dgm:spPr/>
      <dgm:t>
        <a:bodyPr/>
        <a:lstStyle/>
        <a:p>
          <a:endParaRPr lang="en-US"/>
        </a:p>
      </dgm:t>
    </dgm:pt>
    <dgm:pt modelId="{EB122FFA-D4D0-41CF-8E1A-FFBA19417DE4}" type="sibTrans" cxnId="{0567CAC7-15BF-4CA8-B57C-C4CF37AD0F60}">
      <dgm:prSet/>
      <dgm:spPr/>
      <dgm:t>
        <a:bodyPr/>
        <a:lstStyle/>
        <a:p>
          <a:endParaRPr lang="en-US"/>
        </a:p>
      </dgm:t>
    </dgm:pt>
    <dgm:pt modelId="{0684F7B5-6409-42A2-875E-C7AE2E64ED9A}">
      <dgm:prSet custT="1"/>
      <dgm:spPr/>
      <dgm:t>
        <a:bodyPr/>
        <a:lstStyle/>
        <a:p>
          <a:pPr algn="l"/>
          <a:endParaRPr lang="en-US" sz="2000"/>
        </a:p>
      </dgm:t>
    </dgm:pt>
    <dgm:pt modelId="{D7ACC0B8-480C-463B-8F8B-83074258D9DA}" type="parTrans" cxnId="{8A502BBB-F2CC-438F-BE60-956E35CABCB6}">
      <dgm:prSet/>
      <dgm:spPr/>
      <dgm:t>
        <a:bodyPr/>
        <a:lstStyle/>
        <a:p>
          <a:endParaRPr lang="en-US"/>
        </a:p>
      </dgm:t>
    </dgm:pt>
    <dgm:pt modelId="{1908CACF-AC7F-440D-9D8A-4964F979D3A1}" type="sibTrans" cxnId="{8A502BBB-F2CC-438F-BE60-956E35CABCB6}">
      <dgm:prSet/>
      <dgm:spPr/>
      <dgm:t>
        <a:bodyPr/>
        <a:lstStyle/>
        <a:p>
          <a:endParaRPr lang="en-US"/>
        </a:p>
      </dgm:t>
    </dgm:pt>
    <dgm:pt modelId="{5D0FBEF5-2806-4BBD-8592-70D43A3F9C38}" type="pres">
      <dgm:prSet presAssocID="{47368D0B-0430-4A91-94E1-D0097F6BB4FA}" presName="linear" presStyleCnt="0">
        <dgm:presLayoutVars>
          <dgm:animLvl val="lvl"/>
          <dgm:resizeHandles val="exact"/>
        </dgm:presLayoutVars>
      </dgm:prSet>
      <dgm:spPr/>
    </dgm:pt>
    <dgm:pt modelId="{9293F5D5-11A7-4EBD-AB2A-32B587777418}" type="pres">
      <dgm:prSet presAssocID="{017CA063-7EEA-489C-87A9-E2147DD0A5AD}" presName="parentText" presStyleLbl="node1" presStyleIdx="0" presStyleCnt="2" custScaleX="99381" custLinFactNeighborX="0" custLinFactNeighborY="-748">
        <dgm:presLayoutVars>
          <dgm:chMax val="0"/>
          <dgm:bulletEnabled val="1"/>
        </dgm:presLayoutVars>
      </dgm:prSet>
      <dgm:spPr/>
    </dgm:pt>
    <dgm:pt modelId="{4A55D87D-60CD-4B14-93A5-50DF5EB8A373}" type="pres">
      <dgm:prSet presAssocID="{017CA063-7EEA-489C-87A9-E2147DD0A5AD}" presName="childText" presStyleLbl="revTx" presStyleIdx="0" presStyleCnt="2">
        <dgm:presLayoutVars>
          <dgm:bulletEnabled val="1"/>
        </dgm:presLayoutVars>
      </dgm:prSet>
      <dgm:spPr/>
    </dgm:pt>
    <dgm:pt modelId="{4629E081-81D2-4582-A2BA-742FDD6A68FE}" type="pres">
      <dgm:prSet presAssocID="{3A25F396-3993-40C8-ACE1-6100753554C6}" presName="parentText" presStyleLbl="node1" presStyleIdx="1" presStyleCnt="2" custScaleX="99381">
        <dgm:presLayoutVars>
          <dgm:chMax val="0"/>
          <dgm:bulletEnabled val="1"/>
        </dgm:presLayoutVars>
      </dgm:prSet>
      <dgm:spPr/>
    </dgm:pt>
    <dgm:pt modelId="{00CCB998-6F0D-472D-B2FF-CA60FBDBEED4}" type="pres">
      <dgm:prSet presAssocID="{3A25F396-3993-40C8-ACE1-6100753554C6}" presName="childText" presStyleLbl="revTx" presStyleIdx="1" presStyleCnt="2">
        <dgm:presLayoutVars>
          <dgm:bulletEnabled val="1"/>
        </dgm:presLayoutVars>
      </dgm:prSet>
      <dgm:spPr/>
    </dgm:pt>
  </dgm:ptLst>
  <dgm:cxnLst>
    <dgm:cxn modelId="{B13A1F0E-3E30-4F78-BF1D-4D20FF4CA42F}" type="presOf" srcId="{017CA063-7EEA-489C-87A9-E2147DD0A5AD}" destId="{9293F5D5-11A7-4EBD-AB2A-32B587777418}" srcOrd="0" destOrd="0" presId="urn:microsoft.com/office/officeart/2005/8/layout/vList2"/>
    <dgm:cxn modelId="{A016E30E-1A39-474E-BF9E-0FDBB3C1C509}" srcId="{3A25F396-3993-40C8-ACE1-6100753554C6}" destId="{DFC8C568-FF11-4699-AEFE-46FE489A4FFE}" srcOrd="0" destOrd="0" parTransId="{A1488A11-3EB0-43EC-ADD8-CE32EAC799D1}" sibTransId="{627EABCD-1292-4970-B9FF-F0B08E5E2061}"/>
    <dgm:cxn modelId="{4DE00232-B8B9-4984-BD9A-3698BEE6BB6C}" type="presOf" srcId="{47368D0B-0430-4A91-94E1-D0097F6BB4FA}" destId="{5D0FBEF5-2806-4BBD-8592-70D43A3F9C38}" srcOrd="0" destOrd="0" presId="urn:microsoft.com/office/officeart/2005/8/layout/vList2"/>
    <dgm:cxn modelId="{C285F46A-7D08-4583-A7E9-ECAD40E22D99}" srcId="{017CA063-7EEA-489C-87A9-E2147DD0A5AD}" destId="{39C3F611-3401-4A7C-9183-36772990397F}" srcOrd="1" destOrd="0" parTransId="{12A7EED4-5022-4DA4-AB34-8C54C688B6F8}" sibTransId="{D87F634A-9180-4F43-97AF-2440A209A716}"/>
    <dgm:cxn modelId="{E4BE244D-0A04-4C92-915E-AE46B93F2873}" type="presOf" srcId="{3A25F396-3993-40C8-ACE1-6100753554C6}" destId="{4629E081-81D2-4582-A2BA-742FDD6A68FE}" srcOrd="0" destOrd="0" presId="urn:microsoft.com/office/officeart/2005/8/layout/vList2"/>
    <dgm:cxn modelId="{27388B70-3F24-45ED-AE22-CF9A1F9E0AC5}" srcId="{47368D0B-0430-4A91-94E1-D0097F6BB4FA}" destId="{017CA063-7EEA-489C-87A9-E2147DD0A5AD}" srcOrd="0" destOrd="0" parTransId="{E0B8EF2F-113F-4507-B8FC-3374D37646B0}" sibTransId="{BD1C0346-86D3-4E46-82D3-0636A98D6820}"/>
    <dgm:cxn modelId="{C67BFA73-86CE-4F7D-B0D6-71F160AF0347}" type="presOf" srcId="{0684F7B5-6409-42A2-875E-C7AE2E64ED9A}" destId="{4A55D87D-60CD-4B14-93A5-50DF5EB8A373}" srcOrd="0" destOrd="2" presId="urn:microsoft.com/office/officeart/2005/8/layout/vList2"/>
    <dgm:cxn modelId="{62B1D293-68CE-4D22-A2F7-B8D6CD9D8DE2}" srcId="{3A25F396-3993-40C8-ACE1-6100753554C6}" destId="{4BA82668-2AB1-4BF9-9E92-8B5E831D0A1E}" srcOrd="1" destOrd="0" parTransId="{82DBD6D3-4904-49FA-9169-0CDA1F38733B}" sibTransId="{52B6086E-E335-417D-A26A-A69DA6602BB7}"/>
    <dgm:cxn modelId="{DDA71496-F0C6-4C30-B04F-805EE0B49864}" type="presOf" srcId="{5867008F-45EB-47D8-A49B-B68A14ABF026}" destId="{4A55D87D-60CD-4B14-93A5-50DF5EB8A373}" srcOrd="0" destOrd="0" presId="urn:microsoft.com/office/officeart/2005/8/layout/vList2"/>
    <dgm:cxn modelId="{B0D103B2-7607-4880-AF30-065C2C18CF0D}" srcId="{47368D0B-0430-4A91-94E1-D0097F6BB4FA}" destId="{3A25F396-3993-40C8-ACE1-6100753554C6}" srcOrd="1" destOrd="0" parTransId="{9F443CF8-BAD5-4D7B-8C3F-00C5B2AE8846}" sibTransId="{E68B217B-2C11-448A-B532-3BDBE2C3ACEB}"/>
    <dgm:cxn modelId="{8A502BBB-F2CC-438F-BE60-956E35CABCB6}" srcId="{017CA063-7EEA-489C-87A9-E2147DD0A5AD}" destId="{0684F7B5-6409-42A2-875E-C7AE2E64ED9A}" srcOrd="2" destOrd="0" parTransId="{D7ACC0B8-480C-463B-8F8B-83074258D9DA}" sibTransId="{1908CACF-AC7F-440D-9D8A-4964F979D3A1}"/>
    <dgm:cxn modelId="{AAD948BD-05D6-4F6B-AE3C-9AC28F244721}" type="presOf" srcId="{39C3F611-3401-4A7C-9183-36772990397F}" destId="{4A55D87D-60CD-4B14-93A5-50DF5EB8A373}" srcOrd="0" destOrd="1" presId="urn:microsoft.com/office/officeart/2005/8/layout/vList2"/>
    <dgm:cxn modelId="{7A3BEBC4-8198-4BC8-965E-5F3E2997D5EF}" type="presOf" srcId="{DFC8C568-FF11-4699-AEFE-46FE489A4FFE}" destId="{00CCB998-6F0D-472D-B2FF-CA60FBDBEED4}" srcOrd="0" destOrd="0" presId="urn:microsoft.com/office/officeart/2005/8/layout/vList2"/>
    <dgm:cxn modelId="{0567CAC7-15BF-4CA8-B57C-C4CF37AD0F60}" srcId="{3A25F396-3993-40C8-ACE1-6100753554C6}" destId="{B9EA77E2-8621-452E-8B5A-AC35DD71CD00}" srcOrd="2" destOrd="0" parTransId="{DC434A08-C60C-440D-BB28-EB8A527F5CB0}" sibTransId="{EB122FFA-D4D0-41CF-8E1A-FFBA19417DE4}"/>
    <dgm:cxn modelId="{F48E5DD4-0884-4FD3-AC7C-C170DDEE795A}" type="presOf" srcId="{B9EA77E2-8621-452E-8B5A-AC35DD71CD00}" destId="{00CCB998-6F0D-472D-B2FF-CA60FBDBEED4}" srcOrd="0" destOrd="2" presId="urn:microsoft.com/office/officeart/2005/8/layout/vList2"/>
    <dgm:cxn modelId="{4B77CCE6-C17F-4029-B530-56D25583C6E7}" type="presOf" srcId="{4BA82668-2AB1-4BF9-9E92-8B5E831D0A1E}" destId="{00CCB998-6F0D-472D-B2FF-CA60FBDBEED4}" srcOrd="0" destOrd="1" presId="urn:microsoft.com/office/officeart/2005/8/layout/vList2"/>
    <dgm:cxn modelId="{6D0F4DE8-446B-433E-8A9F-AF53FAB4D3C0}" srcId="{017CA063-7EEA-489C-87A9-E2147DD0A5AD}" destId="{5867008F-45EB-47D8-A49B-B68A14ABF026}" srcOrd="0" destOrd="0" parTransId="{DA312F54-835A-4332-B099-27EB24A0EBA4}" sibTransId="{CAC109EA-810A-487C-AEE7-58174DEDA450}"/>
    <dgm:cxn modelId="{905F6FE7-0D1F-4341-956C-709B978C1060}" type="presParOf" srcId="{5D0FBEF5-2806-4BBD-8592-70D43A3F9C38}" destId="{9293F5D5-11A7-4EBD-AB2A-32B587777418}" srcOrd="0" destOrd="0" presId="urn:microsoft.com/office/officeart/2005/8/layout/vList2"/>
    <dgm:cxn modelId="{3AE3FC2E-FA44-4A7A-BBB0-5282D3C40855}" type="presParOf" srcId="{5D0FBEF5-2806-4BBD-8592-70D43A3F9C38}" destId="{4A55D87D-60CD-4B14-93A5-50DF5EB8A373}" srcOrd="1" destOrd="0" presId="urn:microsoft.com/office/officeart/2005/8/layout/vList2"/>
    <dgm:cxn modelId="{230FE706-4A97-406B-9CE0-6DE51F197813}" type="presParOf" srcId="{5D0FBEF5-2806-4BBD-8592-70D43A3F9C38}" destId="{4629E081-81D2-4582-A2BA-742FDD6A68FE}" srcOrd="2" destOrd="0" presId="urn:microsoft.com/office/officeart/2005/8/layout/vList2"/>
    <dgm:cxn modelId="{BD225427-9131-43A0-B6BE-01B13245B3E1}" type="presParOf" srcId="{5D0FBEF5-2806-4BBD-8592-70D43A3F9C38}" destId="{00CCB998-6F0D-472D-B2FF-CA60FBDBEED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0DF73E4-F71B-48E8-8B2E-8738FD65E7F1}" type="doc">
      <dgm:prSet loTypeId="urn:microsoft.com/office/officeart/2005/8/layout/hierarchy3" loCatId="hierarchy" qsTypeId="urn:microsoft.com/office/officeart/2005/8/quickstyle/simple1" qsCatId="simple" csTypeId="urn:microsoft.com/office/officeart/2005/8/colors/accent2_2" csCatId="accent2" phldr="1"/>
      <dgm:spPr/>
      <dgm:t>
        <a:bodyPr/>
        <a:lstStyle/>
        <a:p>
          <a:endParaRPr lang="en-US"/>
        </a:p>
      </dgm:t>
    </dgm:pt>
    <dgm:pt modelId="{810FF607-9691-4C71-B549-ECCE69FB013A}">
      <dgm:prSet phldrT="[Text]" phldr="0" custT="1"/>
      <dgm:spPr>
        <a:solidFill>
          <a:srgbClr val="210064"/>
        </a:solidFill>
      </dgm:spPr>
      <dgm:t>
        <a:bodyPr/>
        <a:lstStyle/>
        <a:p>
          <a:r>
            <a:rPr lang="en-US" sz="2000" b="1"/>
            <a:t>Terminating</a:t>
          </a:r>
        </a:p>
      </dgm:t>
    </dgm:pt>
    <dgm:pt modelId="{38D28D6C-DD9D-44C9-ACC2-46133213A595}" type="parTrans" cxnId="{9BA701D7-A7D6-4575-BC6B-280B56056796}">
      <dgm:prSet/>
      <dgm:spPr/>
      <dgm:t>
        <a:bodyPr/>
        <a:lstStyle/>
        <a:p>
          <a:endParaRPr lang="en-US"/>
        </a:p>
      </dgm:t>
    </dgm:pt>
    <dgm:pt modelId="{8376AF82-2104-4015-8440-EEA4E33C45BC}" type="sibTrans" cxnId="{9BA701D7-A7D6-4575-BC6B-280B56056796}">
      <dgm:prSet/>
      <dgm:spPr/>
      <dgm:t>
        <a:bodyPr/>
        <a:lstStyle/>
        <a:p>
          <a:endParaRPr lang="en-US"/>
        </a:p>
      </dgm:t>
    </dgm:pt>
    <dgm:pt modelId="{46A8367A-0108-460B-AE8C-047254F3D128}">
      <dgm:prSet phldrT="[Text]" custT="1"/>
      <dgm:spPr/>
      <dgm:t>
        <a:bodyPr/>
        <a:lstStyle/>
        <a:p>
          <a:r>
            <a:rPr lang="en-US" sz="2000"/>
            <a:t>Code statement </a:t>
          </a:r>
          <a:r>
            <a:rPr lang="en-US" sz="2000" b="0"/>
            <a:t>immediately </a:t>
          </a:r>
          <a:r>
            <a:rPr lang="en-US" sz="2000" b="1"/>
            <a:t>stops</a:t>
          </a:r>
          <a:endParaRPr lang="en-US" sz="2000"/>
        </a:p>
      </dgm:t>
    </dgm:pt>
    <dgm:pt modelId="{D719D926-0B65-4183-8667-FB2ECBEE7CAD}" type="parTrans" cxnId="{A55A791B-A648-4C5E-8F75-2C9789A300FD}">
      <dgm:prSet/>
      <dgm:spPr/>
      <dgm:t>
        <a:bodyPr/>
        <a:lstStyle/>
        <a:p>
          <a:endParaRPr lang="en-US"/>
        </a:p>
      </dgm:t>
    </dgm:pt>
    <dgm:pt modelId="{EE7C17BB-0B88-4EEC-B995-0E56575F8EF0}" type="sibTrans" cxnId="{A55A791B-A648-4C5E-8F75-2C9789A300FD}">
      <dgm:prSet/>
      <dgm:spPr/>
      <dgm:t>
        <a:bodyPr/>
        <a:lstStyle/>
        <a:p>
          <a:endParaRPr lang="en-US"/>
        </a:p>
      </dgm:t>
    </dgm:pt>
    <dgm:pt modelId="{BB47820C-26ED-40FF-8329-FED24B4F6AC7}">
      <dgm:prSet phldrT="[Text]" custT="1"/>
      <dgm:spPr/>
      <dgm:t>
        <a:bodyPr/>
        <a:lstStyle/>
        <a:p>
          <a:r>
            <a:rPr lang="en-US" sz="2000"/>
            <a:t>Will stop function or script if </a:t>
          </a:r>
          <a:r>
            <a:rPr lang="en-US" sz="2000" b="1"/>
            <a:t>not</a:t>
          </a:r>
          <a:r>
            <a:rPr lang="en-US" sz="2000"/>
            <a:t> handled</a:t>
          </a:r>
        </a:p>
      </dgm:t>
    </dgm:pt>
    <dgm:pt modelId="{66D3B0B1-D703-4D8E-A590-0EC95728180E}" type="parTrans" cxnId="{6296634E-1A62-412D-B073-7D99A53A96F1}">
      <dgm:prSet/>
      <dgm:spPr/>
      <dgm:t>
        <a:bodyPr/>
        <a:lstStyle/>
        <a:p>
          <a:endParaRPr lang="en-US"/>
        </a:p>
      </dgm:t>
    </dgm:pt>
    <dgm:pt modelId="{4EEE0A1B-82B9-4F32-B52D-C26DB1F68EAC}" type="sibTrans" cxnId="{6296634E-1A62-412D-B073-7D99A53A96F1}">
      <dgm:prSet/>
      <dgm:spPr/>
      <dgm:t>
        <a:bodyPr/>
        <a:lstStyle/>
        <a:p>
          <a:endParaRPr lang="en-US"/>
        </a:p>
      </dgm:t>
    </dgm:pt>
    <dgm:pt modelId="{9B97E68A-B407-43FC-AA7E-D4C2BF6BDF74}">
      <dgm:prSet phldrT="[Text]" phldr="0" custT="1"/>
      <dgm:spPr>
        <a:solidFill>
          <a:srgbClr val="210064"/>
        </a:solidFill>
      </dgm:spPr>
      <dgm:t>
        <a:bodyPr/>
        <a:lstStyle/>
        <a:p>
          <a:r>
            <a:rPr lang="en-US" sz="2000" b="1"/>
            <a:t>Non-Terminating</a:t>
          </a:r>
        </a:p>
      </dgm:t>
    </dgm:pt>
    <dgm:pt modelId="{F767EB32-9EAD-4FC5-A7F2-3081B4BC5183}" type="parTrans" cxnId="{E0DEA10A-48FB-41BF-BAF2-E8910CD5DBEC}">
      <dgm:prSet/>
      <dgm:spPr/>
      <dgm:t>
        <a:bodyPr/>
        <a:lstStyle/>
        <a:p>
          <a:endParaRPr lang="en-US"/>
        </a:p>
      </dgm:t>
    </dgm:pt>
    <dgm:pt modelId="{7AF51AF9-EAE3-4F9F-A252-3CE8E60368EF}" type="sibTrans" cxnId="{E0DEA10A-48FB-41BF-BAF2-E8910CD5DBEC}">
      <dgm:prSet/>
      <dgm:spPr/>
      <dgm:t>
        <a:bodyPr/>
        <a:lstStyle/>
        <a:p>
          <a:endParaRPr lang="en-US"/>
        </a:p>
      </dgm:t>
    </dgm:pt>
    <dgm:pt modelId="{2BA1AF3D-5F8B-49B7-AC49-5048D433458B}">
      <dgm:prSet phldrT="[Text]" custT="1"/>
      <dgm:spPr/>
      <dgm:t>
        <a:bodyPr/>
        <a:lstStyle/>
        <a:p>
          <a:r>
            <a:rPr lang="en-US" sz="2000"/>
            <a:t>Code execution will </a:t>
          </a:r>
          <a:r>
            <a:rPr lang="en-US" sz="2000" b="1"/>
            <a:t>continue</a:t>
          </a:r>
          <a:endParaRPr lang="en-US" sz="2000"/>
        </a:p>
      </dgm:t>
    </dgm:pt>
    <dgm:pt modelId="{F2221ED2-459E-4DE1-83F0-BBE6BD82743F}" type="parTrans" cxnId="{545E95CB-24D5-4B4F-B03D-F258D3D37656}">
      <dgm:prSet/>
      <dgm:spPr/>
      <dgm:t>
        <a:bodyPr/>
        <a:lstStyle/>
        <a:p>
          <a:endParaRPr lang="en-US"/>
        </a:p>
      </dgm:t>
    </dgm:pt>
    <dgm:pt modelId="{006DA0C0-CA94-493A-87E9-99EAFAC26A98}" type="sibTrans" cxnId="{545E95CB-24D5-4B4F-B03D-F258D3D37656}">
      <dgm:prSet/>
      <dgm:spPr/>
      <dgm:t>
        <a:bodyPr/>
        <a:lstStyle/>
        <a:p>
          <a:endParaRPr lang="en-US"/>
        </a:p>
      </dgm:t>
    </dgm:pt>
    <dgm:pt modelId="{A4FCBD75-9BEF-4AE2-8A97-74AD510966ED}">
      <dgm:prSet phldrT="[Text]" custT="1"/>
      <dgm:spPr/>
      <dgm:t>
        <a:bodyPr/>
        <a:lstStyle/>
        <a:p>
          <a:r>
            <a:rPr lang="en-US" sz="2000"/>
            <a:t>Can optionally be </a:t>
          </a:r>
          <a:r>
            <a:rPr lang="en-US" sz="2000" b="1"/>
            <a:t>converted</a:t>
          </a:r>
          <a:r>
            <a:rPr lang="en-US" sz="2000"/>
            <a:t> to terminating error</a:t>
          </a:r>
        </a:p>
      </dgm:t>
    </dgm:pt>
    <dgm:pt modelId="{AF5C03AB-E7CC-43F3-9ADC-4615BED95665}" type="parTrans" cxnId="{D386C67A-B49F-44D3-B242-E67992DBC20B}">
      <dgm:prSet/>
      <dgm:spPr/>
      <dgm:t>
        <a:bodyPr/>
        <a:lstStyle/>
        <a:p>
          <a:endParaRPr lang="en-US"/>
        </a:p>
      </dgm:t>
    </dgm:pt>
    <dgm:pt modelId="{4BE59F6D-33AD-48A5-9FD2-7B0647E06724}" type="sibTrans" cxnId="{D386C67A-B49F-44D3-B242-E67992DBC20B}">
      <dgm:prSet/>
      <dgm:spPr/>
      <dgm:t>
        <a:bodyPr/>
        <a:lstStyle/>
        <a:p>
          <a:endParaRPr lang="en-US"/>
        </a:p>
      </dgm:t>
    </dgm:pt>
    <dgm:pt modelId="{2886C365-83BF-41A0-99EC-A249A668FE5E}" type="pres">
      <dgm:prSet presAssocID="{E0DF73E4-F71B-48E8-8B2E-8738FD65E7F1}" presName="diagram" presStyleCnt="0">
        <dgm:presLayoutVars>
          <dgm:chPref val="1"/>
          <dgm:dir/>
          <dgm:animOne val="branch"/>
          <dgm:animLvl val="lvl"/>
          <dgm:resizeHandles/>
        </dgm:presLayoutVars>
      </dgm:prSet>
      <dgm:spPr/>
    </dgm:pt>
    <dgm:pt modelId="{343E2EAA-ED4D-410D-B0BE-88B174BECC07}" type="pres">
      <dgm:prSet presAssocID="{810FF607-9691-4C71-B549-ECCE69FB013A}" presName="root" presStyleCnt="0"/>
      <dgm:spPr/>
    </dgm:pt>
    <dgm:pt modelId="{557BB511-679F-4EED-9188-C7A26C135012}" type="pres">
      <dgm:prSet presAssocID="{810FF607-9691-4C71-B549-ECCE69FB013A}" presName="rootComposite" presStyleCnt="0"/>
      <dgm:spPr/>
    </dgm:pt>
    <dgm:pt modelId="{4C511FBC-EBAA-4B0C-8296-667F21988698}" type="pres">
      <dgm:prSet presAssocID="{810FF607-9691-4C71-B549-ECCE69FB013A}" presName="rootText" presStyleLbl="node1" presStyleIdx="0" presStyleCnt="2" custScaleX="68622" custScaleY="57230"/>
      <dgm:spPr/>
    </dgm:pt>
    <dgm:pt modelId="{9B19FA0C-F28A-44D8-9A3A-8F01AB0CFB6F}" type="pres">
      <dgm:prSet presAssocID="{810FF607-9691-4C71-B549-ECCE69FB013A}" presName="rootConnector" presStyleLbl="node1" presStyleIdx="0" presStyleCnt="2"/>
      <dgm:spPr/>
    </dgm:pt>
    <dgm:pt modelId="{B97FC64B-0078-41EA-9343-9EBD72F43544}" type="pres">
      <dgm:prSet presAssocID="{810FF607-9691-4C71-B549-ECCE69FB013A}" presName="childShape" presStyleCnt="0"/>
      <dgm:spPr/>
    </dgm:pt>
    <dgm:pt modelId="{DB310F8F-BDA9-4548-AE8A-19416959F810}" type="pres">
      <dgm:prSet presAssocID="{D719D926-0B65-4183-8667-FB2ECBEE7CAD}" presName="Name13" presStyleLbl="parChTrans1D2" presStyleIdx="0" presStyleCnt="4"/>
      <dgm:spPr/>
    </dgm:pt>
    <dgm:pt modelId="{D1112101-A968-4DAB-8EBC-01C6BD46375E}" type="pres">
      <dgm:prSet presAssocID="{46A8367A-0108-460B-AE8C-047254F3D128}" presName="childText" presStyleLbl="bgAcc1" presStyleIdx="0" presStyleCnt="4" custScaleX="103912" custScaleY="79742">
        <dgm:presLayoutVars>
          <dgm:bulletEnabled val="1"/>
        </dgm:presLayoutVars>
      </dgm:prSet>
      <dgm:spPr/>
    </dgm:pt>
    <dgm:pt modelId="{FCE461A1-15A6-404F-85D4-0F34B709E428}" type="pres">
      <dgm:prSet presAssocID="{66D3B0B1-D703-4D8E-A590-0EC95728180E}" presName="Name13" presStyleLbl="parChTrans1D2" presStyleIdx="1" presStyleCnt="4"/>
      <dgm:spPr/>
    </dgm:pt>
    <dgm:pt modelId="{D44A0A8B-AFFA-4C8D-99AF-786859CF2FDB}" type="pres">
      <dgm:prSet presAssocID="{BB47820C-26ED-40FF-8329-FED24B4F6AC7}" presName="childText" presStyleLbl="bgAcc1" presStyleIdx="1" presStyleCnt="4" custScaleX="99904" custScaleY="80163">
        <dgm:presLayoutVars>
          <dgm:bulletEnabled val="1"/>
        </dgm:presLayoutVars>
      </dgm:prSet>
      <dgm:spPr/>
    </dgm:pt>
    <dgm:pt modelId="{8E4D1CDB-EAFE-4A12-AF37-3E8C170037F9}" type="pres">
      <dgm:prSet presAssocID="{9B97E68A-B407-43FC-AA7E-D4C2BF6BDF74}" presName="root" presStyleCnt="0"/>
      <dgm:spPr/>
    </dgm:pt>
    <dgm:pt modelId="{BE1ACF7B-B122-4273-80DC-FA3E3E57261F}" type="pres">
      <dgm:prSet presAssocID="{9B97E68A-B407-43FC-AA7E-D4C2BF6BDF74}" presName="rootComposite" presStyleCnt="0"/>
      <dgm:spPr/>
    </dgm:pt>
    <dgm:pt modelId="{445E39E4-661C-40F6-9DCF-A284E2BA30D0}" type="pres">
      <dgm:prSet presAssocID="{9B97E68A-B407-43FC-AA7E-D4C2BF6BDF74}" presName="rootText" presStyleLbl="node1" presStyleIdx="1" presStyleCnt="2" custScaleX="64761" custScaleY="52478"/>
      <dgm:spPr/>
    </dgm:pt>
    <dgm:pt modelId="{D46FF299-F48F-4143-B3EB-4C14C8FEA973}" type="pres">
      <dgm:prSet presAssocID="{9B97E68A-B407-43FC-AA7E-D4C2BF6BDF74}" presName="rootConnector" presStyleLbl="node1" presStyleIdx="1" presStyleCnt="2"/>
      <dgm:spPr/>
    </dgm:pt>
    <dgm:pt modelId="{E7D6A441-4BC8-4B6B-8F27-D31B2E9DE7FE}" type="pres">
      <dgm:prSet presAssocID="{9B97E68A-B407-43FC-AA7E-D4C2BF6BDF74}" presName="childShape" presStyleCnt="0"/>
      <dgm:spPr/>
    </dgm:pt>
    <dgm:pt modelId="{48483C23-6B22-41EF-A94C-51187286CBDD}" type="pres">
      <dgm:prSet presAssocID="{F2221ED2-459E-4DE1-83F0-BBE6BD82743F}" presName="Name13" presStyleLbl="parChTrans1D2" presStyleIdx="2" presStyleCnt="4"/>
      <dgm:spPr/>
    </dgm:pt>
    <dgm:pt modelId="{29849819-A542-4506-983C-B1394972581E}" type="pres">
      <dgm:prSet presAssocID="{2BA1AF3D-5F8B-49B7-AC49-5048D433458B}" presName="childText" presStyleLbl="bgAcc1" presStyleIdx="2" presStyleCnt="4" custScaleX="101076" custScaleY="79292">
        <dgm:presLayoutVars>
          <dgm:bulletEnabled val="1"/>
        </dgm:presLayoutVars>
      </dgm:prSet>
      <dgm:spPr/>
    </dgm:pt>
    <dgm:pt modelId="{2ED96A9E-DB26-4ABD-B303-11CAA43E8B05}" type="pres">
      <dgm:prSet presAssocID="{AF5C03AB-E7CC-43F3-9ADC-4615BED95665}" presName="Name13" presStyleLbl="parChTrans1D2" presStyleIdx="3" presStyleCnt="4"/>
      <dgm:spPr/>
    </dgm:pt>
    <dgm:pt modelId="{FBD84DE6-703E-4BED-917C-55A460A6F0E2}" type="pres">
      <dgm:prSet presAssocID="{A4FCBD75-9BEF-4AE2-8A97-74AD510966ED}" presName="childText" presStyleLbl="bgAcc1" presStyleIdx="3" presStyleCnt="4" custScaleX="102282" custScaleY="90208">
        <dgm:presLayoutVars>
          <dgm:bulletEnabled val="1"/>
        </dgm:presLayoutVars>
      </dgm:prSet>
      <dgm:spPr/>
    </dgm:pt>
  </dgm:ptLst>
  <dgm:cxnLst>
    <dgm:cxn modelId="{15BF7505-0F84-4554-953B-760F5687F462}" type="presOf" srcId="{66D3B0B1-D703-4D8E-A590-0EC95728180E}" destId="{FCE461A1-15A6-404F-85D4-0F34B709E428}" srcOrd="0" destOrd="0" presId="urn:microsoft.com/office/officeart/2005/8/layout/hierarchy3"/>
    <dgm:cxn modelId="{E0DEA10A-48FB-41BF-BAF2-E8910CD5DBEC}" srcId="{E0DF73E4-F71B-48E8-8B2E-8738FD65E7F1}" destId="{9B97E68A-B407-43FC-AA7E-D4C2BF6BDF74}" srcOrd="1" destOrd="0" parTransId="{F767EB32-9EAD-4FC5-A7F2-3081B4BC5183}" sibTransId="{7AF51AF9-EAE3-4F9F-A252-3CE8E60368EF}"/>
    <dgm:cxn modelId="{A55A791B-A648-4C5E-8F75-2C9789A300FD}" srcId="{810FF607-9691-4C71-B549-ECCE69FB013A}" destId="{46A8367A-0108-460B-AE8C-047254F3D128}" srcOrd="0" destOrd="0" parTransId="{D719D926-0B65-4183-8667-FB2ECBEE7CAD}" sibTransId="{EE7C17BB-0B88-4EEC-B995-0E56575F8EF0}"/>
    <dgm:cxn modelId="{4D45891E-E583-4C6D-A9A4-010305D2BC28}" type="presOf" srcId="{810FF607-9691-4C71-B549-ECCE69FB013A}" destId="{9B19FA0C-F28A-44D8-9A3A-8F01AB0CFB6F}" srcOrd="1" destOrd="0" presId="urn:microsoft.com/office/officeart/2005/8/layout/hierarchy3"/>
    <dgm:cxn modelId="{6DD86F29-D1EA-4CD9-BACF-834224285E41}" type="presOf" srcId="{9B97E68A-B407-43FC-AA7E-D4C2BF6BDF74}" destId="{D46FF299-F48F-4143-B3EB-4C14C8FEA973}" srcOrd="1" destOrd="0" presId="urn:microsoft.com/office/officeart/2005/8/layout/hierarchy3"/>
    <dgm:cxn modelId="{F396F136-0D67-4D21-B506-38757C2B99ED}" type="presOf" srcId="{D719D926-0B65-4183-8667-FB2ECBEE7CAD}" destId="{DB310F8F-BDA9-4548-AE8A-19416959F810}" srcOrd="0" destOrd="0" presId="urn:microsoft.com/office/officeart/2005/8/layout/hierarchy3"/>
    <dgm:cxn modelId="{63FA913F-53FE-4FD8-A599-B7016B8143A8}" type="presOf" srcId="{AF5C03AB-E7CC-43F3-9ADC-4615BED95665}" destId="{2ED96A9E-DB26-4ABD-B303-11CAA43E8B05}" srcOrd="0" destOrd="0" presId="urn:microsoft.com/office/officeart/2005/8/layout/hierarchy3"/>
    <dgm:cxn modelId="{6296634E-1A62-412D-B073-7D99A53A96F1}" srcId="{810FF607-9691-4C71-B549-ECCE69FB013A}" destId="{BB47820C-26ED-40FF-8329-FED24B4F6AC7}" srcOrd="1" destOrd="0" parTransId="{66D3B0B1-D703-4D8E-A590-0EC95728180E}" sibTransId="{4EEE0A1B-82B9-4F32-B52D-C26DB1F68EAC}"/>
    <dgm:cxn modelId="{3E7DF16E-B1A6-4D71-8EDB-218393172143}" type="presOf" srcId="{E0DF73E4-F71B-48E8-8B2E-8738FD65E7F1}" destId="{2886C365-83BF-41A0-99EC-A249A668FE5E}" srcOrd="0" destOrd="0" presId="urn:microsoft.com/office/officeart/2005/8/layout/hierarchy3"/>
    <dgm:cxn modelId="{913A7778-EBCC-4D59-A2B5-9B5A8939702F}" type="presOf" srcId="{46A8367A-0108-460B-AE8C-047254F3D128}" destId="{D1112101-A968-4DAB-8EBC-01C6BD46375E}" srcOrd="0" destOrd="0" presId="urn:microsoft.com/office/officeart/2005/8/layout/hierarchy3"/>
    <dgm:cxn modelId="{D386C67A-B49F-44D3-B242-E67992DBC20B}" srcId="{9B97E68A-B407-43FC-AA7E-D4C2BF6BDF74}" destId="{A4FCBD75-9BEF-4AE2-8A97-74AD510966ED}" srcOrd="1" destOrd="0" parTransId="{AF5C03AB-E7CC-43F3-9ADC-4615BED95665}" sibTransId="{4BE59F6D-33AD-48A5-9FD2-7B0647E06724}"/>
    <dgm:cxn modelId="{80E4A8BA-A22A-498B-9A52-8B7D7677FDEA}" type="presOf" srcId="{F2221ED2-459E-4DE1-83F0-BBE6BD82743F}" destId="{48483C23-6B22-41EF-A94C-51187286CBDD}" srcOrd="0" destOrd="0" presId="urn:microsoft.com/office/officeart/2005/8/layout/hierarchy3"/>
    <dgm:cxn modelId="{24839BBB-E920-4111-8E42-0904BE63279A}" type="presOf" srcId="{9B97E68A-B407-43FC-AA7E-D4C2BF6BDF74}" destId="{445E39E4-661C-40F6-9DCF-A284E2BA30D0}" srcOrd="0" destOrd="0" presId="urn:microsoft.com/office/officeart/2005/8/layout/hierarchy3"/>
    <dgm:cxn modelId="{541AD4C1-30EC-4A1B-8466-E66485F6C468}" type="presOf" srcId="{2BA1AF3D-5F8B-49B7-AC49-5048D433458B}" destId="{29849819-A542-4506-983C-B1394972581E}" srcOrd="0" destOrd="0" presId="urn:microsoft.com/office/officeart/2005/8/layout/hierarchy3"/>
    <dgm:cxn modelId="{3B0730CB-4A1F-4DC1-98AD-51123E7661B1}" type="presOf" srcId="{A4FCBD75-9BEF-4AE2-8A97-74AD510966ED}" destId="{FBD84DE6-703E-4BED-917C-55A460A6F0E2}" srcOrd="0" destOrd="0" presId="urn:microsoft.com/office/officeart/2005/8/layout/hierarchy3"/>
    <dgm:cxn modelId="{545E95CB-24D5-4B4F-B03D-F258D3D37656}" srcId="{9B97E68A-B407-43FC-AA7E-D4C2BF6BDF74}" destId="{2BA1AF3D-5F8B-49B7-AC49-5048D433458B}" srcOrd="0" destOrd="0" parTransId="{F2221ED2-459E-4DE1-83F0-BBE6BD82743F}" sibTransId="{006DA0C0-CA94-493A-87E9-99EAFAC26A98}"/>
    <dgm:cxn modelId="{9BA701D7-A7D6-4575-BC6B-280B56056796}" srcId="{E0DF73E4-F71B-48E8-8B2E-8738FD65E7F1}" destId="{810FF607-9691-4C71-B549-ECCE69FB013A}" srcOrd="0" destOrd="0" parTransId="{38D28D6C-DD9D-44C9-ACC2-46133213A595}" sibTransId="{8376AF82-2104-4015-8440-EEA4E33C45BC}"/>
    <dgm:cxn modelId="{9FD3ABE0-C8AF-4C0D-B990-DB45EAB65C60}" type="presOf" srcId="{810FF607-9691-4C71-B549-ECCE69FB013A}" destId="{4C511FBC-EBAA-4B0C-8296-667F21988698}" srcOrd="0" destOrd="0" presId="urn:microsoft.com/office/officeart/2005/8/layout/hierarchy3"/>
    <dgm:cxn modelId="{0859FCF0-B0F3-4DB6-B939-5C89EAF81C82}" type="presOf" srcId="{BB47820C-26ED-40FF-8329-FED24B4F6AC7}" destId="{D44A0A8B-AFFA-4C8D-99AF-786859CF2FDB}" srcOrd="0" destOrd="0" presId="urn:microsoft.com/office/officeart/2005/8/layout/hierarchy3"/>
    <dgm:cxn modelId="{CF11F8E5-70B9-454D-A20C-5DE2FA527680}" type="presParOf" srcId="{2886C365-83BF-41A0-99EC-A249A668FE5E}" destId="{343E2EAA-ED4D-410D-B0BE-88B174BECC07}" srcOrd="0" destOrd="0" presId="urn:microsoft.com/office/officeart/2005/8/layout/hierarchy3"/>
    <dgm:cxn modelId="{3BA6372F-9BC6-4539-8FD9-5D45BD5F181A}" type="presParOf" srcId="{343E2EAA-ED4D-410D-B0BE-88B174BECC07}" destId="{557BB511-679F-4EED-9188-C7A26C135012}" srcOrd="0" destOrd="0" presId="urn:microsoft.com/office/officeart/2005/8/layout/hierarchy3"/>
    <dgm:cxn modelId="{DDFAD8B0-DB4B-49C2-A7BB-EDB234554096}" type="presParOf" srcId="{557BB511-679F-4EED-9188-C7A26C135012}" destId="{4C511FBC-EBAA-4B0C-8296-667F21988698}" srcOrd="0" destOrd="0" presId="urn:microsoft.com/office/officeart/2005/8/layout/hierarchy3"/>
    <dgm:cxn modelId="{07E99FF4-ADA7-482F-8589-44D2C89DE912}" type="presParOf" srcId="{557BB511-679F-4EED-9188-C7A26C135012}" destId="{9B19FA0C-F28A-44D8-9A3A-8F01AB0CFB6F}" srcOrd="1" destOrd="0" presId="urn:microsoft.com/office/officeart/2005/8/layout/hierarchy3"/>
    <dgm:cxn modelId="{404360B1-B2CB-42F1-93E1-EC24C3EF4A83}" type="presParOf" srcId="{343E2EAA-ED4D-410D-B0BE-88B174BECC07}" destId="{B97FC64B-0078-41EA-9343-9EBD72F43544}" srcOrd="1" destOrd="0" presId="urn:microsoft.com/office/officeart/2005/8/layout/hierarchy3"/>
    <dgm:cxn modelId="{92E76E79-DF8A-403D-BCA3-8591965FD0ED}" type="presParOf" srcId="{B97FC64B-0078-41EA-9343-9EBD72F43544}" destId="{DB310F8F-BDA9-4548-AE8A-19416959F810}" srcOrd="0" destOrd="0" presId="urn:microsoft.com/office/officeart/2005/8/layout/hierarchy3"/>
    <dgm:cxn modelId="{C9AC1BC6-8422-40DE-8464-1421C91C3446}" type="presParOf" srcId="{B97FC64B-0078-41EA-9343-9EBD72F43544}" destId="{D1112101-A968-4DAB-8EBC-01C6BD46375E}" srcOrd="1" destOrd="0" presId="urn:microsoft.com/office/officeart/2005/8/layout/hierarchy3"/>
    <dgm:cxn modelId="{1FFA3ED0-6995-4C69-A7F3-39F673632D92}" type="presParOf" srcId="{B97FC64B-0078-41EA-9343-9EBD72F43544}" destId="{FCE461A1-15A6-404F-85D4-0F34B709E428}" srcOrd="2" destOrd="0" presId="urn:microsoft.com/office/officeart/2005/8/layout/hierarchy3"/>
    <dgm:cxn modelId="{2014FECF-2CDD-4896-9B63-C97402EC8E9C}" type="presParOf" srcId="{B97FC64B-0078-41EA-9343-9EBD72F43544}" destId="{D44A0A8B-AFFA-4C8D-99AF-786859CF2FDB}" srcOrd="3" destOrd="0" presId="urn:microsoft.com/office/officeart/2005/8/layout/hierarchy3"/>
    <dgm:cxn modelId="{34B2F0FE-F2DC-4E70-8E80-8F5CF62A459C}" type="presParOf" srcId="{2886C365-83BF-41A0-99EC-A249A668FE5E}" destId="{8E4D1CDB-EAFE-4A12-AF37-3E8C170037F9}" srcOrd="1" destOrd="0" presId="urn:microsoft.com/office/officeart/2005/8/layout/hierarchy3"/>
    <dgm:cxn modelId="{8A7E0230-41B0-44D9-812F-FD29E655949E}" type="presParOf" srcId="{8E4D1CDB-EAFE-4A12-AF37-3E8C170037F9}" destId="{BE1ACF7B-B122-4273-80DC-FA3E3E57261F}" srcOrd="0" destOrd="0" presId="urn:microsoft.com/office/officeart/2005/8/layout/hierarchy3"/>
    <dgm:cxn modelId="{A243969F-A539-4EF7-AF88-8F121839C85C}" type="presParOf" srcId="{BE1ACF7B-B122-4273-80DC-FA3E3E57261F}" destId="{445E39E4-661C-40F6-9DCF-A284E2BA30D0}" srcOrd="0" destOrd="0" presId="urn:microsoft.com/office/officeart/2005/8/layout/hierarchy3"/>
    <dgm:cxn modelId="{74363618-C811-43CD-90EF-D2936E1EB945}" type="presParOf" srcId="{BE1ACF7B-B122-4273-80DC-FA3E3E57261F}" destId="{D46FF299-F48F-4143-B3EB-4C14C8FEA973}" srcOrd="1" destOrd="0" presId="urn:microsoft.com/office/officeart/2005/8/layout/hierarchy3"/>
    <dgm:cxn modelId="{CC39495D-45C0-4E77-83B6-88DC88C56EAC}" type="presParOf" srcId="{8E4D1CDB-EAFE-4A12-AF37-3E8C170037F9}" destId="{E7D6A441-4BC8-4B6B-8F27-D31B2E9DE7FE}" srcOrd="1" destOrd="0" presId="urn:microsoft.com/office/officeart/2005/8/layout/hierarchy3"/>
    <dgm:cxn modelId="{9DB1E73F-570F-4C71-B641-7FC0BCDDF44E}" type="presParOf" srcId="{E7D6A441-4BC8-4B6B-8F27-D31B2E9DE7FE}" destId="{48483C23-6B22-41EF-A94C-51187286CBDD}" srcOrd="0" destOrd="0" presId="urn:microsoft.com/office/officeart/2005/8/layout/hierarchy3"/>
    <dgm:cxn modelId="{4C01B1E7-8D23-405C-882B-E01D90F26924}" type="presParOf" srcId="{E7D6A441-4BC8-4B6B-8F27-D31B2E9DE7FE}" destId="{29849819-A542-4506-983C-B1394972581E}" srcOrd="1" destOrd="0" presId="urn:microsoft.com/office/officeart/2005/8/layout/hierarchy3"/>
    <dgm:cxn modelId="{0F430A87-7DAF-4CC6-829B-9B8BEEF0F576}" type="presParOf" srcId="{E7D6A441-4BC8-4B6B-8F27-D31B2E9DE7FE}" destId="{2ED96A9E-DB26-4ABD-B303-11CAA43E8B05}" srcOrd="2" destOrd="0" presId="urn:microsoft.com/office/officeart/2005/8/layout/hierarchy3"/>
    <dgm:cxn modelId="{70A16B5A-2D36-4004-8428-E81DC1F0CEC5}" type="presParOf" srcId="{E7D6A441-4BC8-4B6B-8F27-D31B2E9DE7FE}" destId="{FBD84DE6-703E-4BED-917C-55A460A6F0E2}" srcOrd="3" destOrd="0" presId="urn:microsoft.com/office/officeart/2005/8/layout/hierarchy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7368D0B-0430-4A91-94E1-D0097F6BB4F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17CA063-7EEA-489C-87A9-E2147DD0A5AD}">
      <dgm:prSet custT="1"/>
      <dgm:spPr>
        <a:solidFill>
          <a:srgbClr val="002060"/>
        </a:solidFill>
      </dgm:spPr>
      <dgm:t>
        <a:bodyPr/>
        <a:lstStyle/>
        <a:p>
          <a:r>
            <a:rPr lang="en-US" sz="2400">
              <a:latin typeface="Segoe UI" panose="020B0502040204020203" pitchFamily="34" charset="0"/>
              <a:cs typeface="Segoe UI Light"/>
            </a:rPr>
            <a:t>Does </a:t>
          </a:r>
          <a:r>
            <a:rPr lang="en-US" sz="2400" b="1">
              <a:latin typeface="Segoe UI" panose="020B0502040204020203" pitchFamily="34" charset="0"/>
              <a:cs typeface="Segoe UI Light"/>
            </a:rPr>
            <a:t>not</a:t>
          </a:r>
          <a:r>
            <a:rPr lang="en-US" sz="2400">
              <a:latin typeface="Segoe UI" panose="020B0502040204020203" pitchFamily="34" charset="0"/>
              <a:cs typeface="Segoe UI Light"/>
            </a:rPr>
            <a:t> stop code execution </a:t>
          </a:r>
          <a:r>
            <a:rPr lang="en-US" sz="2400" i="1">
              <a:latin typeface="Segoe UI" panose="020B0502040204020203" pitchFamily="34" charset="0"/>
              <a:cs typeface="Segoe UI Light"/>
            </a:rPr>
            <a:t>(default)</a:t>
          </a:r>
          <a:endParaRPr lang="en-US" sz="2400"/>
        </a:p>
      </dgm:t>
    </dgm:pt>
    <dgm:pt modelId="{E0B8EF2F-113F-4507-B8FC-3374D37646B0}" type="parTrans" cxnId="{27388B70-3F24-45ED-AE22-CF9A1F9E0AC5}">
      <dgm:prSet/>
      <dgm:spPr/>
      <dgm:t>
        <a:bodyPr/>
        <a:lstStyle/>
        <a:p>
          <a:endParaRPr lang="en-US" sz="2400"/>
        </a:p>
      </dgm:t>
    </dgm:pt>
    <dgm:pt modelId="{BD1C0346-86D3-4E46-82D3-0636A98D6820}" type="sibTrans" cxnId="{27388B70-3F24-45ED-AE22-CF9A1F9E0AC5}">
      <dgm:prSet/>
      <dgm:spPr/>
      <dgm:t>
        <a:bodyPr/>
        <a:lstStyle/>
        <a:p>
          <a:endParaRPr lang="en-US" sz="2400"/>
        </a:p>
      </dgm:t>
    </dgm:pt>
    <dgm:pt modelId="{1635F56D-E788-4300-B08E-66F105414E60}">
      <dgm:prSet custT="1"/>
      <dgm:spPr/>
      <dgm:t>
        <a:bodyPr/>
        <a:lstStyle/>
        <a:p>
          <a:pPr algn="l"/>
          <a:r>
            <a:rPr lang="en-US" sz="2400" b="1">
              <a:latin typeface="Segoe UI" panose="020B0502040204020203" pitchFamily="34" charset="0"/>
              <a:cs typeface="Segoe UI Light"/>
            </a:rPr>
            <a:t>Optionally handle </a:t>
          </a:r>
          <a:r>
            <a:rPr lang="en-US" sz="2400">
              <a:latin typeface="Segoe UI" panose="020B0502040204020203" pitchFamily="34" charset="0"/>
              <a:cs typeface="Segoe UI Light"/>
            </a:rPr>
            <a:t>error in code using automatic variables</a:t>
          </a:r>
          <a:endParaRPr lang="en-US" sz="2400"/>
        </a:p>
      </dgm:t>
    </dgm:pt>
    <dgm:pt modelId="{58E16C08-E058-4264-A239-B00ACBD2A41C}" type="parTrans" cxnId="{F33CB2CA-1AB6-4B41-ACEC-70149B37A6CC}">
      <dgm:prSet/>
      <dgm:spPr/>
      <dgm:t>
        <a:bodyPr/>
        <a:lstStyle/>
        <a:p>
          <a:endParaRPr lang="en-US" sz="2400"/>
        </a:p>
      </dgm:t>
    </dgm:pt>
    <dgm:pt modelId="{993EC587-4929-4010-A6BE-20373D4ABDAE}" type="sibTrans" cxnId="{F33CB2CA-1AB6-4B41-ACEC-70149B37A6CC}">
      <dgm:prSet/>
      <dgm:spPr/>
      <dgm:t>
        <a:bodyPr/>
        <a:lstStyle/>
        <a:p>
          <a:endParaRPr lang="en-US" sz="2400"/>
        </a:p>
      </dgm:t>
    </dgm:pt>
    <dgm:pt modelId="{3A25F396-3993-40C8-ACE1-6100753554C6}">
      <dgm:prSet custT="1"/>
      <dgm:spPr>
        <a:solidFill>
          <a:srgbClr val="002060"/>
        </a:solidFill>
      </dgm:spPr>
      <dgm:t>
        <a:bodyPr/>
        <a:lstStyle/>
        <a:p>
          <a:r>
            <a:rPr lang="en-US" sz="2400">
              <a:latin typeface="Segoe UI" panose="020B0502040204020203" pitchFamily="34" charset="0"/>
              <a:cs typeface="Segoe UI Light"/>
            </a:rPr>
            <a:t>Can be </a:t>
          </a:r>
          <a:r>
            <a:rPr lang="en-US" sz="2400" b="1">
              <a:latin typeface="Segoe UI" panose="020B0502040204020203" pitchFamily="34" charset="0"/>
              <a:cs typeface="Segoe UI Light"/>
            </a:rPr>
            <a:t>converted</a:t>
          </a:r>
          <a:r>
            <a:rPr lang="en-US" sz="2400">
              <a:latin typeface="Segoe UI" panose="020B0502040204020203" pitchFamily="34" charset="0"/>
              <a:cs typeface="Segoe UI Light"/>
            </a:rPr>
            <a:t> into Terminating error</a:t>
          </a:r>
          <a:endParaRPr lang="en-US" sz="2400"/>
        </a:p>
      </dgm:t>
    </dgm:pt>
    <dgm:pt modelId="{9F443CF8-BAD5-4D7B-8C3F-00C5B2AE8846}" type="parTrans" cxnId="{B0D103B2-7607-4880-AF30-065C2C18CF0D}">
      <dgm:prSet/>
      <dgm:spPr/>
      <dgm:t>
        <a:bodyPr/>
        <a:lstStyle/>
        <a:p>
          <a:endParaRPr lang="en-US" sz="2400"/>
        </a:p>
      </dgm:t>
    </dgm:pt>
    <dgm:pt modelId="{E68B217B-2C11-448A-B532-3BDBE2C3ACEB}" type="sibTrans" cxnId="{B0D103B2-7607-4880-AF30-065C2C18CF0D}">
      <dgm:prSet/>
      <dgm:spPr/>
      <dgm:t>
        <a:bodyPr/>
        <a:lstStyle/>
        <a:p>
          <a:endParaRPr lang="en-US" sz="2400"/>
        </a:p>
      </dgm:t>
    </dgm:pt>
    <dgm:pt modelId="{DFC8C568-FF11-4699-AEFE-46FE489A4FFE}">
      <dgm:prSet custT="1"/>
      <dgm:spPr/>
      <dgm:t>
        <a:bodyPr/>
        <a:lstStyle/>
        <a:p>
          <a:r>
            <a:rPr lang="en-US" sz="2400" b="1">
              <a:latin typeface="Segoe UI" panose="020B0502040204020203" pitchFamily="34" charset="0"/>
              <a:cs typeface="Segoe UI Light"/>
            </a:rPr>
            <a:t>-</a:t>
          </a:r>
          <a:r>
            <a:rPr lang="en-US" sz="2400" b="1" err="1">
              <a:latin typeface="Segoe UI" panose="020B0502040204020203" pitchFamily="34" charset="0"/>
              <a:cs typeface="Segoe UI Light"/>
            </a:rPr>
            <a:t>ErrorAction</a:t>
          </a:r>
          <a:r>
            <a:rPr lang="en-US" sz="2400">
              <a:latin typeface="Segoe UI" panose="020B0502040204020203" pitchFamily="34" charset="0"/>
              <a:cs typeface="Segoe UI Light"/>
            </a:rPr>
            <a:t> Stop </a:t>
          </a:r>
          <a:endParaRPr lang="en-US" sz="2400"/>
        </a:p>
      </dgm:t>
    </dgm:pt>
    <dgm:pt modelId="{A1488A11-3EB0-43EC-ADD8-CE32EAC799D1}" type="parTrans" cxnId="{A016E30E-1A39-474E-BF9E-0FDBB3C1C509}">
      <dgm:prSet/>
      <dgm:spPr/>
      <dgm:t>
        <a:bodyPr/>
        <a:lstStyle/>
        <a:p>
          <a:endParaRPr lang="en-US" sz="2400"/>
        </a:p>
      </dgm:t>
    </dgm:pt>
    <dgm:pt modelId="{627EABCD-1292-4970-B9FF-F0B08E5E2061}" type="sibTrans" cxnId="{A016E30E-1A39-474E-BF9E-0FDBB3C1C509}">
      <dgm:prSet/>
      <dgm:spPr/>
      <dgm:t>
        <a:bodyPr/>
        <a:lstStyle/>
        <a:p>
          <a:endParaRPr lang="en-US" sz="2400"/>
        </a:p>
      </dgm:t>
    </dgm:pt>
    <dgm:pt modelId="{77DF58F8-0D94-4B12-ADE9-2B5AFCEB4CE0}">
      <dgm:prSet custT="1"/>
      <dgm:spPr/>
      <dgm:t>
        <a:bodyPr/>
        <a:lstStyle/>
        <a:p>
          <a:pPr algn="l"/>
          <a:endParaRPr lang="en-US" sz="2400"/>
        </a:p>
      </dgm:t>
    </dgm:pt>
    <dgm:pt modelId="{28581263-B85D-4E82-9100-64C383DD29E6}" type="parTrans" cxnId="{3CE41112-9F45-4C16-B280-1FBFA42EE647}">
      <dgm:prSet/>
      <dgm:spPr/>
      <dgm:t>
        <a:bodyPr/>
        <a:lstStyle/>
        <a:p>
          <a:endParaRPr lang="en-US" sz="2400"/>
        </a:p>
      </dgm:t>
    </dgm:pt>
    <dgm:pt modelId="{340BC9A8-950D-415C-845B-11F9F6C1AF6E}" type="sibTrans" cxnId="{3CE41112-9F45-4C16-B280-1FBFA42EE647}">
      <dgm:prSet/>
      <dgm:spPr/>
      <dgm:t>
        <a:bodyPr/>
        <a:lstStyle/>
        <a:p>
          <a:endParaRPr lang="en-US" sz="2400"/>
        </a:p>
      </dgm:t>
    </dgm:pt>
    <dgm:pt modelId="{212C391B-C1F8-42A7-848A-79294863685E}">
      <dgm:prSet custT="1"/>
      <dgm:spPr/>
      <dgm:t>
        <a:bodyPr/>
        <a:lstStyle/>
        <a:p>
          <a:pPr algn="l"/>
          <a:r>
            <a:rPr lang="en-US" sz="2400">
              <a:latin typeface="Segoe UI" panose="020B0502040204020203" pitchFamily="34" charset="0"/>
              <a:cs typeface="Segoe UI Light"/>
            </a:rPr>
            <a:t>Error messages can be </a:t>
          </a:r>
          <a:r>
            <a:rPr lang="en-US" sz="2400" b="1">
              <a:latin typeface="Segoe UI" panose="020B0502040204020203" pitchFamily="34" charset="0"/>
              <a:cs typeface="Segoe UI Light"/>
            </a:rPr>
            <a:t>suppressed</a:t>
          </a:r>
        </a:p>
      </dgm:t>
    </dgm:pt>
    <dgm:pt modelId="{966FF3FE-24D6-4E76-BCDE-B3A840C14571}" type="parTrans" cxnId="{7D1711BD-7756-4424-B929-3A7A3C8A62D7}">
      <dgm:prSet/>
      <dgm:spPr/>
      <dgm:t>
        <a:bodyPr/>
        <a:lstStyle/>
        <a:p>
          <a:endParaRPr lang="en-US" sz="2400"/>
        </a:p>
      </dgm:t>
    </dgm:pt>
    <dgm:pt modelId="{B5E0595C-59B2-40C2-8F7B-FD6C3AEC1895}" type="sibTrans" cxnId="{7D1711BD-7756-4424-B929-3A7A3C8A62D7}">
      <dgm:prSet/>
      <dgm:spPr/>
      <dgm:t>
        <a:bodyPr/>
        <a:lstStyle/>
        <a:p>
          <a:endParaRPr lang="en-US" sz="2400"/>
        </a:p>
      </dgm:t>
    </dgm:pt>
    <dgm:pt modelId="{9F371D8E-F255-4121-808C-68FCDF0C05AC}">
      <dgm:prSet custT="1"/>
      <dgm:spPr/>
      <dgm:t>
        <a:bodyPr/>
        <a:lstStyle/>
        <a:p>
          <a:r>
            <a:rPr lang="en-US" sz="2400" b="1">
              <a:latin typeface="Segoe UI" panose="020B0502040204020203" pitchFamily="34" charset="0"/>
              <a:cs typeface="Segoe UI Light"/>
            </a:rPr>
            <a:t>$</a:t>
          </a:r>
          <a:r>
            <a:rPr lang="en-US" sz="2400" b="1" err="1">
              <a:latin typeface="Segoe UI" panose="020B0502040204020203" pitchFamily="34" charset="0"/>
              <a:cs typeface="Segoe UI Light"/>
            </a:rPr>
            <a:t>ErrorActionPreference</a:t>
          </a:r>
          <a:r>
            <a:rPr lang="en-US" sz="2400" b="1">
              <a:latin typeface="Segoe UI" panose="020B0502040204020203" pitchFamily="34" charset="0"/>
              <a:cs typeface="Segoe UI Light"/>
            </a:rPr>
            <a:t> </a:t>
          </a:r>
          <a:r>
            <a:rPr lang="en-US" sz="2400">
              <a:latin typeface="Segoe UI" panose="020B0502040204020203" pitchFamily="34" charset="0"/>
              <a:cs typeface="Segoe UI Light"/>
            </a:rPr>
            <a:t>= ‘Stop’</a:t>
          </a:r>
        </a:p>
      </dgm:t>
    </dgm:pt>
    <dgm:pt modelId="{54617D5C-8A1B-455C-AC0D-3CE4077DC184}" type="parTrans" cxnId="{17319CA4-458F-4EA6-BB8A-9A5B6DB1E32A}">
      <dgm:prSet/>
      <dgm:spPr/>
      <dgm:t>
        <a:bodyPr/>
        <a:lstStyle/>
        <a:p>
          <a:endParaRPr lang="en-US" sz="2400"/>
        </a:p>
      </dgm:t>
    </dgm:pt>
    <dgm:pt modelId="{8133CEF7-FA91-47A1-B6BC-8B452B056C0E}" type="sibTrans" cxnId="{17319CA4-458F-4EA6-BB8A-9A5B6DB1E32A}">
      <dgm:prSet/>
      <dgm:spPr/>
      <dgm:t>
        <a:bodyPr/>
        <a:lstStyle/>
        <a:p>
          <a:endParaRPr lang="en-US" sz="2400"/>
        </a:p>
      </dgm:t>
    </dgm:pt>
    <dgm:pt modelId="{5D0FBEF5-2806-4BBD-8592-70D43A3F9C38}" type="pres">
      <dgm:prSet presAssocID="{47368D0B-0430-4A91-94E1-D0097F6BB4FA}" presName="linear" presStyleCnt="0">
        <dgm:presLayoutVars>
          <dgm:animLvl val="lvl"/>
          <dgm:resizeHandles val="exact"/>
        </dgm:presLayoutVars>
      </dgm:prSet>
      <dgm:spPr/>
    </dgm:pt>
    <dgm:pt modelId="{9293F5D5-11A7-4EBD-AB2A-32B587777418}" type="pres">
      <dgm:prSet presAssocID="{017CA063-7EEA-489C-87A9-E2147DD0A5AD}" presName="parentText" presStyleLbl="node1" presStyleIdx="0" presStyleCnt="2" custScaleY="73168" custLinFactNeighborX="-7726" custLinFactNeighborY="418">
        <dgm:presLayoutVars>
          <dgm:chMax val="0"/>
          <dgm:bulletEnabled val="1"/>
        </dgm:presLayoutVars>
      </dgm:prSet>
      <dgm:spPr/>
    </dgm:pt>
    <dgm:pt modelId="{7AF8DD4D-1DF9-4453-B18B-6722014DB2E3}" type="pres">
      <dgm:prSet presAssocID="{017CA063-7EEA-489C-87A9-E2147DD0A5AD}" presName="childText" presStyleLbl="revTx" presStyleIdx="0" presStyleCnt="2" custLinFactNeighborX="-7726" custLinFactNeighborY="901">
        <dgm:presLayoutVars>
          <dgm:bulletEnabled val="1"/>
        </dgm:presLayoutVars>
      </dgm:prSet>
      <dgm:spPr/>
    </dgm:pt>
    <dgm:pt modelId="{4629E081-81D2-4582-A2BA-742FDD6A68FE}" type="pres">
      <dgm:prSet presAssocID="{3A25F396-3993-40C8-ACE1-6100753554C6}" presName="parentText" presStyleLbl="node1" presStyleIdx="1" presStyleCnt="2" custScaleY="73168" custLinFactNeighborY="-23079">
        <dgm:presLayoutVars>
          <dgm:chMax val="0"/>
          <dgm:bulletEnabled val="1"/>
        </dgm:presLayoutVars>
      </dgm:prSet>
      <dgm:spPr/>
    </dgm:pt>
    <dgm:pt modelId="{00CCB998-6F0D-472D-B2FF-CA60FBDBEED4}" type="pres">
      <dgm:prSet presAssocID="{3A25F396-3993-40C8-ACE1-6100753554C6}" presName="childText" presStyleLbl="revTx" presStyleIdx="1" presStyleCnt="2" custLinFactNeighborY="-18812">
        <dgm:presLayoutVars>
          <dgm:bulletEnabled val="1"/>
        </dgm:presLayoutVars>
      </dgm:prSet>
      <dgm:spPr/>
    </dgm:pt>
  </dgm:ptLst>
  <dgm:cxnLst>
    <dgm:cxn modelId="{A016E30E-1A39-474E-BF9E-0FDBB3C1C509}" srcId="{3A25F396-3993-40C8-ACE1-6100753554C6}" destId="{DFC8C568-FF11-4699-AEFE-46FE489A4FFE}" srcOrd="0" destOrd="0" parTransId="{A1488A11-3EB0-43EC-ADD8-CE32EAC799D1}" sibTransId="{627EABCD-1292-4970-B9FF-F0B08E5E2061}"/>
    <dgm:cxn modelId="{DAF8930F-FF4E-4B1C-A9F9-573EB0AEE6EF}" type="presOf" srcId="{3A25F396-3993-40C8-ACE1-6100753554C6}" destId="{4629E081-81D2-4582-A2BA-742FDD6A68FE}" srcOrd="0" destOrd="0" presId="urn:microsoft.com/office/officeart/2005/8/layout/vList2"/>
    <dgm:cxn modelId="{3CE41112-9F45-4C16-B280-1FBFA42EE647}" srcId="{017CA063-7EEA-489C-87A9-E2147DD0A5AD}" destId="{77DF58F8-0D94-4B12-ADE9-2B5AFCEB4CE0}" srcOrd="2" destOrd="0" parTransId="{28581263-B85D-4E82-9100-64C383DD29E6}" sibTransId="{340BC9A8-950D-415C-845B-11F9F6C1AF6E}"/>
    <dgm:cxn modelId="{F624C217-05A1-4F48-9B8B-AB2FCD648681}" type="presOf" srcId="{DFC8C568-FF11-4699-AEFE-46FE489A4FFE}" destId="{00CCB998-6F0D-472D-B2FF-CA60FBDBEED4}" srcOrd="0" destOrd="0" presId="urn:microsoft.com/office/officeart/2005/8/layout/vList2"/>
    <dgm:cxn modelId="{4DE00232-B8B9-4984-BD9A-3698BEE6BB6C}" type="presOf" srcId="{47368D0B-0430-4A91-94E1-D0097F6BB4FA}" destId="{5D0FBEF5-2806-4BBD-8592-70D43A3F9C38}" srcOrd="0" destOrd="0" presId="urn:microsoft.com/office/officeart/2005/8/layout/vList2"/>
    <dgm:cxn modelId="{27388B70-3F24-45ED-AE22-CF9A1F9E0AC5}" srcId="{47368D0B-0430-4A91-94E1-D0097F6BB4FA}" destId="{017CA063-7EEA-489C-87A9-E2147DD0A5AD}" srcOrd="0" destOrd="0" parTransId="{E0B8EF2F-113F-4507-B8FC-3374D37646B0}" sibTransId="{BD1C0346-86D3-4E46-82D3-0636A98D6820}"/>
    <dgm:cxn modelId="{D2B4D572-90B9-481C-A18A-35BF752D6DB7}" type="presOf" srcId="{77DF58F8-0D94-4B12-ADE9-2B5AFCEB4CE0}" destId="{7AF8DD4D-1DF9-4453-B18B-6722014DB2E3}" srcOrd="0" destOrd="2" presId="urn:microsoft.com/office/officeart/2005/8/layout/vList2"/>
    <dgm:cxn modelId="{17A77953-972E-46FE-AA6C-B187E764CB5C}" type="presOf" srcId="{017CA063-7EEA-489C-87A9-E2147DD0A5AD}" destId="{9293F5D5-11A7-4EBD-AB2A-32B587777418}" srcOrd="0" destOrd="0" presId="urn:microsoft.com/office/officeart/2005/8/layout/vList2"/>
    <dgm:cxn modelId="{17319CA4-458F-4EA6-BB8A-9A5B6DB1E32A}" srcId="{3A25F396-3993-40C8-ACE1-6100753554C6}" destId="{9F371D8E-F255-4121-808C-68FCDF0C05AC}" srcOrd="1" destOrd="0" parTransId="{54617D5C-8A1B-455C-AC0D-3CE4077DC184}" sibTransId="{8133CEF7-FA91-47A1-B6BC-8B452B056C0E}"/>
    <dgm:cxn modelId="{B0D103B2-7607-4880-AF30-065C2C18CF0D}" srcId="{47368D0B-0430-4A91-94E1-D0097F6BB4FA}" destId="{3A25F396-3993-40C8-ACE1-6100753554C6}" srcOrd="1" destOrd="0" parTransId="{9F443CF8-BAD5-4D7B-8C3F-00C5B2AE8846}" sibTransId="{E68B217B-2C11-448A-B532-3BDBE2C3ACEB}"/>
    <dgm:cxn modelId="{7D1711BD-7756-4424-B929-3A7A3C8A62D7}" srcId="{017CA063-7EEA-489C-87A9-E2147DD0A5AD}" destId="{212C391B-C1F8-42A7-848A-79294863685E}" srcOrd="1" destOrd="0" parTransId="{966FF3FE-24D6-4E76-BCDE-B3A840C14571}" sibTransId="{B5E0595C-59B2-40C2-8F7B-FD6C3AEC1895}"/>
    <dgm:cxn modelId="{F33CB2CA-1AB6-4B41-ACEC-70149B37A6CC}" srcId="{017CA063-7EEA-489C-87A9-E2147DD0A5AD}" destId="{1635F56D-E788-4300-B08E-66F105414E60}" srcOrd="0" destOrd="0" parTransId="{58E16C08-E058-4264-A239-B00ACBD2A41C}" sibTransId="{993EC587-4929-4010-A6BE-20373D4ABDAE}"/>
    <dgm:cxn modelId="{05E135CE-9786-4FDB-9B56-A7A3EF63E1A3}" type="presOf" srcId="{9F371D8E-F255-4121-808C-68FCDF0C05AC}" destId="{00CCB998-6F0D-472D-B2FF-CA60FBDBEED4}" srcOrd="0" destOrd="1" presId="urn:microsoft.com/office/officeart/2005/8/layout/vList2"/>
    <dgm:cxn modelId="{7BCCE0DD-D002-4355-9669-96FDC69A3C88}" type="presOf" srcId="{212C391B-C1F8-42A7-848A-79294863685E}" destId="{7AF8DD4D-1DF9-4453-B18B-6722014DB2E3}" srcOrd="0" destOrd="1" presId="urn:microsoft.com/office/officeart/2005/8/layout/vList2"/>
    <dgm:cxn modelId="{F6091CF9-C0FC-4961-B6E5-CF2B94195DFF}" type="presOf" srcId="{1635F56D-E788-4300-B08E-66F105414E60}" destId="{7AF8DD4D-1DF9-4453-B18B-6722014DB2E3}" srcOrd="0" destOrd="0" presId="urn:microsoft.com/office/officeart/2005/8/layout/vList2"/>
    <dgm:cxn modelId="{CE8DE011-4D95-4CED-B8BF-21A4AA9EFACC}" type="presParOf" srcId="{5D0FBEF5-2806-4BBD-8592-70D43A3F9C38}" destId="{9293F5D5-11A7-4EBD-AB2A-32B587777418}" srcOrd="0" destOrd="0" presId="urn:microsoft.com/office/officeart/2005/8/layout/vList2"/>
    <dgm:cxn modelId="{BCE0030B-76CB-4362-BFEF-82F3E4A9FDB6}" type="presParOf" srcId="{5D0FBEF5-2806-4BBD-8592-70D43A3F9C38}" destId="{7AF8DD4D-1DF9-4453-B18B-6722014DB2E3}" srcOrd="1" destOrd="0" presId="urn:microsoft.com/office/officeart/2005/8/layout/vList2"/>
    <dgm:cxn modelId="{358CCA27-3159-4350-8C0B-2312AE446DB4}" type="presParOf" srcId="{5D0FBEF5-2806-4BBD-8592-70D43A3F9C38}" destId="{4629E081-81D2-4582-A2BA-742FDD6A68FE}" srcOrd="2" destOrd="0" presId="urn:microsoft.com/office/officeart/2005/8/layout/vList2"/>
    <dgm:cxn modelId="{61ED4EDB-E438-4113-870A-A85B29AA8B7D}" type="presParOf" srcId="{5D0FBEF5-2806-4BBD-8592-70D43A3F9C38}" destId="{00CCB998-6F0D-472D-B2FF-CA60FBDBEED4}" srcOrd="3"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BC39980-1D75-474E-A42A-A9861B11D20C}" type="doc">
      <dgm:prSet loTypeId="urn:microsoft.com/office/officeart/2005/8/layout/vList5" loCatId="list" qsTypeId="urn:microsoft.com/office/officeart/2005/8/quickstyle/simple4" qsCatId="simple" csTypeId="urn:microsoft.com/office/officeart/2005/8/colors/accent2_2" csCatId="accent2" phldr="1"/>
      <dgm:spPr/>
      <dgm:t>
        <a:bodyPr/>
        <a:lstStyle/>
        <a:p>
          <a:endParaRPr lang="en-US"/>
        </a:p>
      </dgm:t>
    </dgm:pt>
    <dgm:pt modelId="{F4033D1E-B8CF-4F98-9E9E-9B33554D8A0A}">
      <dgm:prSet custT="1"/>
      <dgm:spPr/>
      <dgm:t>
        <a:bodyPr/>
        <a:lstStyle/>
        <a:p>
          <a:r>
            <a:rPr lang="en-US" sz="2400"/>
            <a:t>Execution status of last command</a:t>
          </a:r>
        </a:p>
      </dgm:t>
    </dgm:pt>
    <dgm:pt modelId="{6AE9E714-C767-4434-9A0D-98B8CCC77E74}" type="parTrans" cxnId="{B380F8C4-2DFC-4C0B-B7D3-3536366AFD7B}">
      <dgm:prSet/>
      <dgm:spPr/>
      <dgm:t>
        <a:bodyPr/>
        <a:lstStyle/>
        <a:p>
          <a:endParaRPr lang="en-US"/>
        </a:p>
      </dgm:t>
    </dgm:pt>
    <dgm:pt modelId="{34B7FBDC-421E-4B3C-BAFA-FF51458FE7FE}" type="sibTrans" cxnId="{B380F8C4-2DFC-4C0B-B7D3-3536366AFD7B}">
      <dgm:prSet/>
      <dgm:spPr/>
      <dgm:t>
        <a:bodyPr/>
        <a:lstStyle/>
        <a:p>
          <a:endParaRPr lang="en-US"/>
        </a:p>
      </dgm:t>
    </dgm:pt>
    <dgm:pt modelId="{6617B47E-ED9D-4178-8A54-316D059038DC}">
      <dgm:prSet custT="1"/>
      <dgm:spPr/>
      <dgm:t>
        <a:bodyPr/>
        <a:lstStyle/>
        <a:p>
          <a:r>
            <a:rPr lang="en-US" sz="2400"/>
            <a:t>Returns FALSE if any failure</a:t>
          </a:r>
        </a:p>
      </dgm:t>
    </dgm:pt>
    <dgm:pt modelId="{12A1E3CF-1DBC-42B7-9168-E1B6001BB546}" type="parTrans" cxnId="{4776090D-DC60-4765-AD3B-0730660B07CF}">
      <dgm:prSet/>
      <dgm:spPr/>
      <dgm:t>
        <a:bodyPr/>
        <a:lstStyle/>
        <a:p>
          <a:endParaRPr lang="en-US"/>
        </a:p>
      </dgm:t>
    </dgm:pt>
    <dgm:pt modelId="{10AD48BC-8B90-4706-B329-E967A9267FB3}" type="sibTrans" cxnId="{4776090D-DC60-4765-AD3B-0730660B07CF}">
      <dgm:prSet/>
      <dgm:spPr/>
      <dgm:t>
        <a:bodyPr/>
        <a:lstStyle/>
        <a:p>
          <a:endParaRPr lang="en-US"/>
        </a:p>
      </dgm:t>
    </dgm:pt>
    <dgm:pt modelId="{AF942702-16AA-4A66-837C-3BFE1ADB3063}">
      <dgm:prSet custT="1"/>
      <dgm:spPr/>
      <dgm:t>
        <a:bodyPr/>
        <a:lstStyle/>
        <a:p>
          <a:r>
            <a:rPr lang="en-US" sz="2800"/>
            <a:t>$</a:t>
          </a:r>
          <a:r>
            <a:rPr lang="en-US" sz="2800" err="1"/>
            <a:t>LastExitCode</a:t>
          </a:r>
          <a:endParaRPr lang="en-US" sz="2800"/>
        </a:p>
      </dgm:t>
    </dgm:pt>
    <dgm:pt modelId="{30C989E9-28B3-4B5D-B197-FD0FF48CE7BE}" type="parTrans" cxnId="{B0011E33-97EB-47A9-A4A8-302AD5A2F106}">
      <dgm:prSet/>
      <dgm:spPr/>
      <dgm:t>
        <a:bodyPr/>
        <a:lstStyle/>
        <a:p>
          <a:endParaRPr lang="en-US"/>
        </a:p>
      </dgm:t>
    </dgm:pt>
    <dgm:pt modelId="{91700A69-40FF-4FCE-AE5F-0525A0396DBC}" type="sibTrans" cxnId="{B0011E33-97EB-47A9-A4A8-302AD5A2F106}">
      <dgm:prSet/>
      <dgm:spPr/>
      <dgm:t>
        <a:bodyPr/>
        <a:lstStyle/>
        <a:p>
          <a:endParaRPr lang="en-US"/>
        </a:p>
      </dgm:t>
    </dgm:pt>
    <dgm:pt modelId="{EABE324E-A09A-4BBF-9ADF-C8A47AA99759}">
      <dgm:prSet custT="1"/>
      <dgm:spPr/>
      <dgm:t>
        <a:bodyPr/>
        <a:lstStyle/>
        <a:p>
          <a:r>
            <a:rPr lang="en-US" sz="2400"/>
            <a:t>Contains exit code of last external/native command</a:t>
          </a:r>
        </a:p>
      </dgm:t>
    </dgm:pt>
    <dgm:pt modelId="{76309884-53CE-4C3D-AEA5-5C568E38BC47}" type="parTrans" cxnId="{A5DB6DC1-8D85-42A4-B919-0FEA5814A20D}">
      <dgm:prSet/>
      <dgm:spPr/>
      <dgm:t>
        <a:bodyPr/>
        <a:lstStyle/>
        <a:p>
          <a:endParaRPr lang="en-US"/>
        </a:p>
      </dgm:t>
    </dgm:pt>
    <dgm:pt modelId="{9A7418BD-1044-48C8-AF35-9BD00191DAE7}" type="sibTrans" cxnId="{A5DB6DC1-8D85-42A4-B919-0FEA5814A20D}">
      <dgm:prSet/>
      <dgm:spPr/>
      <dgm:t>
        <a:bodyPr/>
        <a:lstStyle/>
        <a:p>
          <a:endParaRPr lang="en-US"/>
        </a:p>
      </dgm:t>
    </dgm:pt>
    <dgm:pt modelId="{92AFF0F8-8592-4275-ACC4-B2E362508A3B}">
      <dgm:prSet custT="1"/>
      <dgm:spPr/>
      <dgm:t>
        <a:bodyPr/>
        <a:lstStyle/>
        <a:p>
          <a:r>
            <a:rPr lang="en-US" sz="2800"/>
            <a:t>$Error</a:t>
          </a:r>
        </a:p>
      </dgm:t>
    </dgm:pt>
    <dgm:pt modelId="{F07E8B9E-5635-43F5-BF24-88F8E1E34D97}" type="parTrans" cxnId="{67E805F1-3919-4299-84C9-86F5A684004C}">
      <dgm:prSet/>
      <dgm:spPr/>
      <dgm:t>
        <a:bodyPr/>
        <a:lstStyle/>
        <a:p>
          <a:endParaRPr lang="en-US"/>
        </a:p>
      </dgm:t>
    </dgm:pt>
    <dgm:pt modelId="{B18BAA35-E56A-4B89-9868-B76513F737A2}" type="sibTrans" cxnId="{67E805F1-3919-4299-84C9-86F5A684004C}">
      <dgm:prSet/>
      <dgm:spPr/>
      <dgm:t>
        <a:bodyPr/>
        <a:lstStyle/>
        <a:p>
          <a:endParaRPr lang="en-US"/>
        </a:p>
      </dgm:t>
    </dgm:pt>
    <dgm:pt modelId="{1880EAC7-B2C1-48F0-8461-59DB63FAD393}">
      <dgm:prSet custT="1"/>
      <dgm:spPr/>
      <dgm:t>
        <a:bodyPr/>
        <a:lstStyle/>
        <a:p>
          <a:r>
            <a:rPr lang="en-US" sz="2400"/>
            <a:t>Array of error objects with most recent errors</a:t>
          </a:r>
        </a:p>
      </dgm:t>
    </dgm:pt>
    <dgm:pt modelId="{7D17CE76-FDC5-4122-97D7-2CB5BB51D49A}" type="parTrans" cxnId="{D41BFD3B-8259-4184-AB6E-8C4D2001D4BB}">
      <dgm:prSet/>
      <dgm:spPr/>
      <dgm:t>
        <a:bodyPr/>
        <a:lstStyle/>
        <a:p>
          <a:endParaRPr lang="en-US"/>
        </a:p>
      </dgm:t>
    </dgm:pt>
    <dgm:pt modelId="{06456FDE-C3DE-4429-A5AF-50DB083B8A26}" type="sibTrans" cxnId="{D41BFD3B-8259-4184-AB6E-8C4D2001D4BB}">
      <dgm:prSet/>
      <dgm:spPr/>
      <dgm:t>
        <a:bodyPr/>
        <a:lstStyle/>
        <a:p>
          <a:endParaRPr lang="en-US"/>
        </a:p>
      </dgm:t>
    </dgm:pt>
    <dgm:pt modelId="{B56D0CF8-A51D-41A1-9345-176067144D53}">
      <dgm:prSet custT="1"/>
      <dgm:spPr/>
      <dgm:t>
        <a:bodyPr/>
        <a:lstStyle/>
        <a:p>
          <a:r>
            <a:rPr lang="en-US" sz="2400" b="1"/>
            <a:t>$Error[0] </a:t>
          </a:r>
          <a:r>
            <a:rPr lang="en-US" sz="2400" b="0"/>
            <a:t>contains most recent error object</a:t>
          </a:r>
        </a:p>
      </dgm:t>
    </dgm:pt>
    <dgm:pt modelId="{C4F12E29-DB90-4172-B591-87AD720B9F29}" type="parTrans" cxnId="{404DB438-A42E-48E2-8A06-9D8C10C54992}">
      <dgm:prSet/>
      <dgm:spPr/>
      <dgm:t>
        <a:bodyPr/>
        <a:lstStyle/>
        <a:p>
          <a:endParaRPr lang="en-US"/>
        </a:p>
      </dgm:t>
    </dgm:pt>
    <dgm:pt modelId="{F6EF1CB5-B260-4C48-B0CD-5CC68C709B65}" type="sibTrans" cxnId="{404DB438-A42E-48E2-8A06-9D8C10C54992}">
      <dgm:prSet/>
      <dgm:spPr/>
      <dgm:t>
        <a:bodyPr/>
        <a:lstStyle/>
        <a:p>
          <a:endParaRPr lang="en-US"/>
        </a:p>
      </dgm:t>
    </dgm:pt>
    <dgm:pt modelId="{83EF3DE1-57B7-420B-A32D-69831DB3AB75}">
      <dgm:prSet custT="1"/>
      <dgm:spPr/>
      <dgm:t>
        <a:bodyPr/>
        <a:lstStyle/>
        <a:p>
          <a:r>
            <a:rPr lang="en-US" sz="2800"/>
            <a:t>$?</a:t>
          </a:r>
        </a:p>
      </dgm:t>
    </dgm:pt>
    <dgm:pt modelId="{DFC4377C-D192-4F3E-A2C3-41CBDCDE0418}" type="sibTrans" cxnId="{C4A291B3-024D-48B8-88AC-8800539B8467}">
      <dgm:prSet/>
      <dgm:spPr/>
      <dgm:t>
        <a:bodyPr/>
        <a:lstStyle/>
        <a:p>
          <a:endParaRPr lang="en-US"/>
        </a:p>
      </dgm:t>
    </dgm:pt>
    <dgm:pt modelId="{DE2B7BAD-3014-4EF1-B818-7CE9F0877EAA}" type="parTrans" cxnId="{C4A291B3-024D-48B8-88AC-8800539B8467}">
      <dgm:prSet/>
      <dgm:spPr/>
      <dgm:t>
        <a:bodyPr/>
        <a:lstStyle/>
        <a:p>
          <a:endParaRPr lang="en-US"/>
        </a:p>
      </dgm:t>
    </dgm:pt>
    <dgm:pt modelId="{D2B6B836-849D-40D7-BD16-938FD17CD781}">
      <dgm:prSet custT="1"/>
      <dgm:spPr/>
      <dgm:t>
        <a:bodyPr/>
        <a:lstStyle/>
        <a:p>
          <a:r>
            <a:rPr lang="en-US" sz="2400"/>
            <a:t>Returns TRUE if succeeded</a:t>
          </a:r>
        </a:p>
      </dgm:t>
    </dgm:pt>
    <dgm:pt modelId="{6A0B3D0E-DA52-4E93-A4DE-F2A215315E8E}" type="parTrans" cxnId="{BABE282F-679D-4F67-9236-41C3E6CF02C7}">
      <dgm:prSet/>
      <dgm:spPr/>
      <dgm:t>
        <a:bodyPr/>
        <a:lstStyle/>
        <a:p>
          <a:endParaRPr lang="en-US"/>
        </a:p>
      </dgm:t>
    </dgm:pt>
    <dgm:pt modelId="{9D76B3C9-5AAC-4BF4-92D0-EFF283440B20}" type="sibTrans" cxnId="{BABE282F-679D-4F67-9236-41C3E6CF02C7}">
      <dgm:prSet/>
      <dgm:spPr/>
      <dgm:t>
        <a:bodyPr/>
        <a:lstStyle/>
        <a:p>
          <a:endParaRPr lang="en-US"/>
        </a:p>
      </dgm:t>
    </dgm:pt>
    <dgm:pt modelId="{1BBD407F-4FF6-473B-9776-D4120B7E0989}">
      <dgm:prSet custT="1"/>
      <dgm:spPr/>
      <dgm:t>
        <a:bodyPr/>
        <a:lstStyle/>
        <a:p>
          <a:r>
            <a:rPr lang="en-US" sz="2400"/>
            <a:t>Value of ‘0’ usually indicates success</a:t>
          </a:r>
        </a:p>
      </dgm:t>
    </dgm:pt>
    <dgm:pt modelId="{936858E0-02D1-4F6B-84B2-26167CB7DE92}" type="parTrans" cxnId="{62342009-5A6C-4CB2-89F8-6E5DB968C255}">
      <dgm:prSet/>
      <dgm:spPr/>
      <dgm:t>
        <a:bodyPr/>
        <a:lstStyle/>
        <a:p>
          <a:endParaRPr lang="en-US"/>
        </a:p>
      </dgm:t>
    </dgm:pt>
    <dgm:pt modelId="{A47967F6-A5D1-461E-89E9-0CA59B7BAB91}" type="sibTrans" cxnId="{62342009-5A6C-4CB2-89F8-6E5DB968C255}">
      <dgm:prSet/>
      <dgm:spPr/>
      <dgm:t>
        <a:bodyPr/>
        <a:lstStyle/>
        <a:p>
          <a:endParaRPr lang="en-US"/>
        </a:p>
      </dgm:t>
    </dgm:pt>
    <dgm:pt modelId="{B28D3FD8-ED9D-465D-BB08-3D5A29C42EDD}" type="pres">
      <dgm:prSet presAssocID="{9BC39980-1D75-474E-A42A-A9861B11D20C}" presName="Name0" presStyleCnt="0">
        <dgm:presLayoutVars>
          <dgm:dir/>
          <dgm:animLvl val="lvl"/>
          <dgm:resizeHandles val="exact"/>
        </dgm:presLayoutVars>
      </dgm:prSet>
      <dgm:spPr/>
    </dgm:pt>
    <dgm:pt modelId="{8984DB1A-1F1D-4E7D-841C-2E28F3EADE0E}" type="pres">
      <dgm:prSet presAssocID="{83EF3DE1-57B7-420B-A32D-69831DB3AB75}" presName="linNode" presStyleCnt="0"/>
      <dgm:spPr/>
    </dgm:pt>
    <dgm:pt modelId="{D0513155-C6AE-4B82-A507-4D461D7D50E8}" type="pres">
      <dgm:prSet presAssocID="{83EF3DE1-57B7-420B-A32D-69831DB3AB75}" presName="parentText" presStyleLbl="node1" presStyleIdx="0" presStyleCnt="3" custScaleX="121675">
        <dgm:presLayoutVars>
          <dgm:chMax val="1"/>
          <dgm:bulletEnabled val="1"/>
        </dgm:presLayoutVars>
      </dgm:prSet>
      <dgm:spPr/>
    </dgm:pt>
    <dgm:pt modelId="{B4DEA63F-05B7-45BE-91F7-CE28E85B9B97}" type="pres">
      <dgm:prSet presAssocID="{83EF3DE1-57B7-420B-A32D-69831DB3AB75}" presName="descendantText" presStyleLbl="alignAccFollowNode1" presStyleIdx="0" presStyleCnt="3" custScaleX="194942">
        <dgm:presLayoutVars>
          <dgm:bulletEnabled val="1"/>
        </dgm:presLayoutVars>
      </dgm:prSet>
      <dgm:spPr/>
    </dgm:pt>
    <dgm:pt modelId="{7216C8FD-5A8E-4928-8BE7-25746C663DCF}" type="pres">
      <dgm:prSet presAssocID="{DFC4377C-D192-4F3E-A2C3-41CBDCDE0418}" presName="sp" presStyleCnt="0"/>
      <dgm:spPr/>
    </dgm:pt>
    <dgm:pt modelId="{A47FE63B-AD47-4284-B22C-AA11384E28E3}" type="pres">
      <dgm:prSet presAssocID="{AF942702-16AA-4A66-837C-3BFE1ADB3063}" presName="linNode" presStyleCnt="0"/>
      <dgm:spPr/>
    </dgm:pt>
    <dgm:pt modelId="{3411F7BB-25DA-4F74-97BC-E526AF7F1D38}" type="pres">
      <dgm:prSet presAssocID="{AF942702-16AA-4A66-837C-3BFE1ADB3063}" presName="parentText" presStyleLbl="node1" presStyleIdx="1" presStyleCnt="3" custScaleX="121675">
        <dgm:presLayoutVars>
          <dgm:chMax val="1"/>
          <dgm:bulletEnabled val="1"/>
        </dgm:presLayoutVars>
      </dgm:prSet>
      <dgm:spPr/>
    </dgm:pt>
    <dgm:pt modelId="{73C54BED-6990-4E6A-8B6D-C8EA5E2ABDA7}" type="pres">
      <dgm:prSet presAssocID="{AF942702-16AA-4A66-837C-3BFE1ADB3063}" presName="descendantText" presStyleLbl="alignAccFollowNode1" presStyleIdx="1" presStyleCnt="3" custScaleX="194942">
        <dgm:presLayoutVars>
          <dgm:bulletEnabled val="1"/>
        </dgm:presLayoutVars>
      </dgm:prSet>
      <dgm:spPr/>
    </dgm:pt>
    <dgm:pt modelId="{E5FC675A-D9A8-4E31-9DD3-3CE7F5C1202B}" type="pres">
      <dgm:prSet presAssocID="{91700A69-40FF-4FCE-AE5F-0525A0396DBC}" presName="sp" presStyleCnt="0"/>
      <dgm:spPr/>
    </dgm:pt>
    <dgm:pt modelId="{64D7FBD2-5CEA-4F12-8303-80FEAACE653F}" type="pres">
      <dgm:prSet presAssocID="{92AFF0F8-8592-4275-ACC4-B2E362508A3B}" presName="linNode" presStyleCnt="0"/>
      <dgm:spPr/>
    </dgm:pt>
    <dgm:pt modelId="{0B95C38E-B2C1-4D2C-8A93-A9FC3FD1D6E0}" type="pres">
      <dgm:prSet presAssocID="{92AFF0F8-8592-4275-ACC4-B2E362508A3B}" presName="parentText" presStyleLbl="node1" presStyleIdx="2" presStyleCnt="3" custScaleX="121675">
        <dgm:presLayoutVars>
          <dgm:chMax val="1"/>
          <dgm:bulletEnabled val="1"/>
        </dgm:presLayoutVars>
      </dgm:prSet>
      <dgm:spPr/>
    </dgm:pt>
    <dgm:pt modelId="{3458A37C-CED6-4BDA-B227-6B14AFA2B204}" type="pres">
      <dgm:prSet presAssocID="{92AFF0F8-8592-4275-ACC4-B2E362508A3B}" presName="descendantText" presStyleLbl="alignAccFollowNode1" presStyleIdx="2" presStyleCnt="3" custScaleX="194942">
        <dgm:presLayoutVars>
          <dgm:bulletEnabled val="1"/>
        </dgm:presLayoutVars>
      </dgm:prSet>
      <dgm:spPr/>
    </dgm:pt>
  </dgm:ptLst>
  <dgm:cxnLst>
    <dgm:cxn modelId="{CBFF0803-D54F-4248-8F31-DE2C6A1F4352}" type="presOf" srcId="{92AFF0F8-8592-4275-ACC4-B2E362508A3B}" destId="{0B95C38E-B2C1-4D2C-8A93-A9FC3FD1D6E0}" srcOrd="0" destOrd="0" presId="urn:microsoft.com/office/officeart/2005/8/layout/vList5"/>
    <dgm:cxn modelId="{62342009-5A6C-4CB2-89F8-6E5DB968C255}" srcId="{AF942702-16AA-4A66-837C-3BFE1ADB3063}" destId="{1BBD407F-4FF6-473B-9776-D4120B7E0989}" srcOrd="1" destOrd="0" parTransId="{936858E0-02D1-4F6B-84B2-26167CB7DE92}" sibTransId="{A47967F6-A5D1-461E-89E9-0CA59B7BAB91}"/>
    <dgm:cxn modelId="{4776090D-DC60-4765-AD3B-0730660B07CF}" srcId="{83EF3DE1-57B7-420B-A32D-69831DB3AB75}" destId="{6617B47E-ED9D-4178-8A54-316D059038DC}" srcOrd="2" destOrd="0" parTransId="{12A1E3CF-1DBC-42B7-9168-E1B6001BB546}" sibTransId="{10AD48BC-8B90-4706-B329-E967A9267FB3}"/>
    <dgm:cxn modelId="{02737A21-355E-4B50-B8A8-C1DD3C360A8F}" type="presOf" srcId="{9BC39980-1D75-474E-A42A-A9861B11D20C}" destId="{B28D3FD8-ED9D-465D-BB08-3D5A29C42EDD}" srcOrd="0" destOrd="0" presId="urn:microsoft.com/office/officeart/2005/8/layout/vList5"/>
    <dgm:cxn modelId="{BABE282F-679D-4F67-9236-41C3E6CF02C7}" srcId="{83EF3DE1-57B7-420B-A32D-69831DB3AB75}" destId="{D2B6B836-849D-40D7-BD16-938FD17CD781}" srcOrd="1" destOrd="0" parTransId="{6A0B3D0E-DA52-4E93-A4DE-F2A215315E8E}" sibTransId="{9D76B3C9-5AAC-4BF4-92D0-EFF283440B20}"/>
    <dgm:cxn modelId="{B0011E33-97EB-47A9-A4A8-302AD5A2F106}" srcId="{9BC39980-1D75-474E-A42A-A9861B11D20C}" destId="{AF942702-16AA-4A66-837C-3BFE1ADB3063}" srcOrd="1" destOrd="0" parTransId="{30C989E9-28B3-4B5D-B197-FD0FF48CE7BE}" sibTransId="{91700A69-40FF-4FCE-AE5F-0525A0396DBC}"/>
    <dgm:cxn modelId="{404DB438-A42E-48E2-8A06-9D8C10C54992}" srcId="{92AFF0F8-8592-4275-ACC4-B2E362508A3B}" destId="{B56D0CF8-A51D-41A1-9345-176067144D53}" srcOrd="1" destOrd="0" parTransId="{C4F12E29-DB90-4172-B591-87AD720B9F29}" sibTransId="{F6EF1CB5-B260-4C48-B0CD-5CC68C709B65}"/>
    <dgm:cxn modelId="{D41BFD3B-8259-4184-AB6E-8C4D2001D4BB}" srcId="{92AFF0F8-8592-4275-ACC4-B2E362508A3B}" destId="{1880EAC7-B2C1-48F0-8461-59DB63FAD393}" srcOrd="0" destOrd="0" parTransId="{7D17CE76-FDC5-4122-97D7-2CB5BB51D49A}" sibTransId="{06456FDE-C3DE-4429-A5AF-50DB083B8A26}"/>
    <dgm:cxn modelId="{022B6C65-95D3-478D-9EE6-69587EF0307A}" type="presOf" srcId="{EABE324E-A09A-4BBF-9ADF-C8A47AA99759}" destId="{73C54BED-6990-4E6A-8B6D-C8EA5E2ABDA7}" srcOrd="0" destOrd="0" presId="urn:microsoft.com/office/officeart/2005/8/layout/vList5"/>
    <dgm:cxn modelId="{F34E2153-577E-4535-8A13-7C4CA66C80C7}" type="presOf" srcId="{83EF3DE1-57B7-420B-A32D-69831DB3AB75}" destId="{D0513155-C6AE-4B82-A507-4D461D7D50E8}" srcOrd="0" destOrd="0" presId="urn:microsoft.com/office/officeart/2005/8/layout/vList5"/>
    <dgm:cxn modelId="{FD298955-B06E-4CC0-BE62-891488B323CD}" type="presOf" srcId="{1BBD407F-4FF6-473B-9776-D4120B7E0989}" destId="{73C54BED-6990-4E6A-8B6D-C8EA5E2ABDA7}" srcOrd="0" destOrd="1" presId="urn:microsoft.com/office/officeart/2005/8/layout/vList5"/>
    <dgm:cxn modelId="{76677990-E5F2-4459-9471-A879966E7FEA}" type="presOf" srcId="{1880EAC7-B2C1-48F0-8461-59DB63FAD393}" destId="{3458A37C-CED6-4BDA-B227-6B14AFA2B204}" srcOrd="0" destOrd="0" presId="urn:microsoft.com/office/officeart/2005/8/layout/vList5"/>
    <dgm:cxn modelId="{D77E889A-84B3-411F-96AF-D10A7694C731}" type="presOf" srcId="{F4033D1E-B8CF-4F98-9E9E-9B33554D8A0A}" destId="{B4DEA63F-05B7-45BE-91F7-CE28E85B9B97}" srcOrd="0" destOrd="0" presId="urn:microsoft.com/office/officeart/2005/8/layout/vList5"/>
    <dgm:cxn modelId="{E28E86AB-DEB5-443A-A631-6CCDF0175D6A}" type="presOf" srcId="{6617B47E-ED9D-4178-8A54-316D059038DC}" destId="{B4DEA63F-05B7-45BE-91F7-CE28E85B9B97}" srcOrd="0" destOrd="2" presId="urn:microsoft.com/office/officeart/2005/8/layout/vList5"/>
    <dgm:cxn modelId="{C4A291B3-024D-48B8-88AC-8800539B8467}" srcId="{9BC39980-1D75-474E-A42A-A9861B11D20C}" destId="{83EF3DE1-57B7-420B-A32D-69831DB3AB75}" srcOrd="0" destOrd="0" parTransId="{DE2B7BAD-3014-4EF1-B818-7CE9F0877EAA}" sibTransId="{DFC4377C-D192-4F3E-A2C3-41CBDCDE0418}"/>
    <dgm:cxn modelId="{E80555B8-1D95-44EC-9123-76BF9F2B43A3}" type="presOf" srcId="{D2B6B836-849D-40D7-BD16-938FD17CD781}" destId="{B4DEA63F-05B7-45BE-91F7-CE28E85B9B97}" srcOrd="0" destOrd="1" presId="urn:microsoft.com/office/officeart/2005/8/layout/vList5"/>
    <dgm:cxn modelId="{2E2CBBB9-1238-4BDC-B0A5-7691C5DA24B5}" type="presOf" srcId="{B56D0CF8-A51D-41A1-9345-176067144D53}" destId="{3458A37C-CED6-4BDA-B227-6B14AFA2B204}" srcOrd="0" destOrd="1" presId="urn:microsoft.com/office/officeart/2005/8/layout/vList5"/>
    <dgm:cxn modelId="{A5DB6DC1-8D85-42A4-B919-0FEA5814A20D}" srcId="{AF942702-16AA-4A66-837C-3BFE1ADB3063}" destId="{EABE324E-A09A-4BBF-9ADF-C8A47AA99759}" srcOrd="0" destOrd="0" parTransId="{76309884-53CE-4C3D-AEA5-5C568E38BC47}" sibTransId="{9A7418BD-1044-48C8-AF35-9BD00191DAE7}"/>
    <dgm:cxn modelId="{B380F8C4-2DFC-4C0B-B7D3-3536366AFD7B}" srcId="{83EF3DE1-57B7-420B-A32D-69831DB3AB75}" destId="{F4033D1E-B8CF-4F98-9E9E-9B33554D8A0A}" srcOrd="0" destOrd="0" parTransId="{6AE9E714-C767-4434-9A0D-98B8CCC77E74}" sibTransId="{34B7FBDC-421E-4B3C-BAFA-FF51458FE7FE}"/>
    <dgm:cxn modelId="{7434D4DA-C35F-4538-80EB-0F8F4B1D2A22}" type="presOf" srcId="{AF942702-16AA-4A66-837C-3BFE1ADB3063}" destId="{3411F7BB-25DA-4F74-97BC-E526AF7F1D38}" srcOrd="0" destOrd="0" presId="urn:microsoft.com/office/officeart/2005/8/layout/vList5"/>
    <dgm:cxn modelId="{67E805F1-3919-4299-84C9-86F5A684004C}" srcId="{9BC39980-1D75-474E-A42A-A9861B11D20C}" destId="{92AFF0F8-8592-4275-ACC4-B2E362508A3B}" srcOrd="2" destOrd="0" parTransId="{F07E8B9E-5635-43F5-BF24-88F8E1E34D97}" sibTransId="{B18BAA35-E56A-4B89-9868-B76513F737A2}"/>
    <dgm:cxn modelId="{8B05EE56-8B82-4A2E-8A71-5C1DB6325AF2}" type="presParOf" srcId="{B28D3FD8-ED9D-465D-BB08-3D5A29C42EDD}" destId="{8984DB1A-1F1D-4E7D-841C-2E28F3EADE0E}" srcOrd="0" destOrd="0" presId="urn:microsoft.com/office/officeart/2005/8/layout/vList5"/>
    <dgm:cxn modelId="{50A11010-B0DB-40F8-8C81-0A4CD56291AC}" type="presParOf" srcId="{8984DB1A-1F1D-4E7D-841C-2E28F3EADE0E}" destId="{D0513155-C6AE-4B82-A507-4D461D7D50E8}" srcOrd="0" destOrd="0" presId="urn:microsoft.com/office/officeart/2005/8/layout/vList5"/>
    <dgm:cxn modelId="{56F1EAF4-9DF4-4E7C-BB70-3DE1192017E9}" type="presParOf" srcId="{8984DB1A-1F1D-4E7D-841C-2E28F3EADE0E}" destId="{B4DEA63F-05B7-45BE-91F7-CE28E85B9B97}" srcOrd="1" destOrd="0" presId="urn:microsoft.com/office/officeart/2005/8/layout/vList5"/>
    <dgm:cxn modelId="{1C4B9509-E75E-47C8-8ACB-14A2A77C5329}" type="presParOf" srcId="{B28D3FD8-ED9D-465D-BB08-3D5A29C42EDD}" destId="{7216C8FD-5A8E-4928-8BE7-25746C663DCF}" srcOrd="1" destOrd="0" presId="urn:microsoft.com/office/officeart/2005/8/layout/vList5"/>
    <dgm:cxn modelId="{1987622D-BFF6-407D-B3C2-28F452EEF165}" type="presParOf" srcId="{B28D3FD8-ED9D-465D-BB08-3D5A29C42EDD}" destId="{A47FE63B-AD47-4284-B22C-AA11384E28E3}" srcOrd="2" destOrd="0" presId="urn:microsoft.com/office/officeart/2005/8/layout/vList5"/>
    <dgm:cxn modelId="{C8F7F2B5-3AE6-4481-8A10-DCF1252804E2}" type="presParOf" srcId="{A47FE63B-AD47-4284-B22C-AA11384E28E3}" destId="{3411F7BB-25DA-4F74-97BC-E526AF7F1D38}" srcOrd="0" destOrd="0" presId="urn:microsoft.com/office/officeart/2005/8/layout/vList5"/>
    <dgm:cxn modelId="{2D5F5C3E-17E1-46D6-8416-FB65F32FC56C}" type="presParOf" srcId="{A47FE63B-AD47-4284-B22C-AA11384E28E3}" destId="{73C54BED-6990-4E6A-8B6D-C8EA5E2ABDA7}" srcOrd="1" destOrd="0" presId="urn:microsoft.com/office/officeart/2005/8/layout/vList5"/>
    <dgm:cxn modelId="{6E6BA859-71D9-4FDF-B157-8A1C7542F40C}" type="presParOf" srcId="{B28D3FD8-ED9D-465D-BB08-3D5A29C42EDD}" destId="{E5FC675A-D9A8-4E31-9DD3-3CE7F5C1202B}" srcOrd="3" destOrd="0" presId="urn:microsoft.com/office/officeart/2005/8/layout/vList5"/>
    <dgm:cxn modelId="{3E396720-552B-4365-AF5C-791F4E9D2F35}" type="presParOf" srcId="{B28D3FD8-ED9D-465D-BB08-3D5A29C42EDD}" destId="{64D7FBD2-5CEA-4F12-8303-80FEAACE653F}" srcOrd="4" destOrd="0" presId="urn:microsoft.com/office/officeart/2005/8/layout/vList5"/>
    <dgm:cxn modelId="{62F7BCEB-1BB2-4C7B-9791-6AD891E1A386}" type="presParOf" srcId="{64D7FBD2-5CEA-4F12-8303-80FEAACE653F}" destId="{0B95C38E-B2C1-4D2C-8A93-A9FC3FD1D6E0}" srcOrd="0" destOrd="0" presId="urn:microsoft.com/office/officeart/2005/8/layout/vList5"/>
    <dgm:cxn modelId="{A078B22F-0761-4C4B-8E0B-AF5B4B507000}" type="presParOf" srcId="{64D7FBD2-5CEA-4F12-8303-80FEAACE653F}" destId="{3458A37C-CED6-4BDA-B227-6B14AFA2B204}"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5666D59-FB6A-41CF-81A2-A24A5C48F3F2}"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238D9C87-E336-4948-90AE-2236C7655197}">
      <dgm:prSet custT="1"/>
      <dgm:spPr>
        <a:solidFill>
          <a:schemeClr val="accent3">
            <a:lumMod val="50000"/>
          </a:schemeClr>
        </a:solidFill>
      </dgm:spPr>
      <dgm:t>
        <a:bodyPr/>
        <a:lstStyle/>
        <a:p>
          <a:r>
            <a:rPr lang="en-US" sz="2400" b="1" baseline="0"/>
            <a:t>Data type </a:t>
          </a:r>
          <a:r>
            <a:rPr lang="en-US" sz="2400" baseline="0"/>
            <a:t>used to store error information in PowerShell</a:t>
          </a:r>
          <a:endParaRPr lang="en-US" sz="2400"/>
        </a:p>
      </dgm:t>
    </dgm:pt>
    <dgm:pt modelId="{F7B9D3CF-7433-467F-AD90-F88A9DB0C2FE}" type="parTrans" cxnId="{BD5C2AAE-5E1D-45EB-9F67-E533BAD4F0F5}">
      <dgm:prSet/>
      <dgm:spPr/>
      <dgm:t>
        <a:bodyPr/>
        <a:lstStyle/>
        <a:p>
          <a:endParaRPr lang="en-US"/>
        </a:p>
      </dgm:t>
    </dgm:pt>
    <dgm:pt modelId="{056BBC2B-1116-4C29-B120-CE6F2B2DC0B0}" type="sibTrans" cxnId="{BD5C2AAE-5E1D-45EB-9F67-E533BAD4F0F5}">
      <dgm:prSet/>
      <dgm:spPr/>
      <dgm:t>
        <a:bodyPr/>
        <a:lstStyle/>
        <a:p>
          <a:endParaRPr lang="en-US"/>
        </a:p>
      </dgm:t>
    </dgm:pt>
    <dgm:pt modelId="{43CC36B0-FFB8-4A5D-959C-BF3DEA8A7D3A}">
      <dgm:prSet custT="1"/>
      <dgm:spPr>
        <a:solidFill>
          <a:schemeClr val="accent3">
            <a:lumMod val="50000"/>
          </a:schemeClr>
        </a:solidFill>
      </dgm:spPr>
      <dgm:t>
        <a:bodyPr/>
        <a:lstStyle/>
        <a:p>
          <a:r>
            <a:rPr lang="en-US" sz="2400" baseline="0"/>
            <a:t>Accessible via </a:t>
          </a:r>
          <a:r>
            <a:rPr lang="en-US" sz="2400" b="1" baseline="0"/>
            <a:t>$Error</a:t>
          </a:r>
          <a:endParaRPr lang="en-US" sz="2400" b="1"/>
        </a:p>
      </dgm:t>
    </dgm:pt>
    <dgm:pt modelId="{C0446AA8-7649-45B8-BD16-7D4FC1C0C2A0}" type="parTrans" cxnId="{E9E9F794-D380-4C9E-9D19-B5C2B2AC717E}">
      <dgm:prSet/>
      <dgm:spPr/>
      <dgm:t>
        <a:bodyPr/>
        <a:lstStyle/>
        <a:p>
          <a:endParaRPr lang="en-US"/>
        </a:p>
      </dgm:t>
    </dgm:pt>
    <dgm:pt modelId="{D514E4EA-41FF-456B-A066-10F040D79B0A}" type="sibTrans" cxnId="{E9E9F794-D380-4C9E-9D19-B5C2B2AC717E}">
      <dgm:prSet/>
      <dgm:spPr/>
      <dgm:t>
        <a:bodyPr/>
        <a:lstStyle/>
        <a:p>
          <a:endParaRPr lang="en-US"/>
        </a:p>
      </dgm:t>
    </dgm:pt>
    <dgm:pt modelId="{F929E947-7EF1-4D57-B6F3-EF21CAA6E990}">
      <dgm:prSet custT="1"/>
      <dgm:spPr>
        <a:solidFill>
          <a:schemeClr val="accent3">
            <a:lumMod val="50000"/>
          </a:schemeClr>
        </a:solidFill>
      </dgm:spPr>
      <dgm:t>
        <a:bodyPr/>
        <a:lstStyle/>
        <a:p>
          <a:r>
            <a:rPr lang="en-US" sz="2400" baseline="0"/>
            <a:t>Contains useful error information in the </a:t>
          </a:r>
          <a:r>
            <a:rPr lang="en-US" sz="2400" b="1" baseline="0"/>
            <a:t>properties</a:t>
          </a:r>
          <a:endParaRPr lang="en-US" sz="2400" b="1"/>
        </a:p>
      </dgm:t>
    </dgm:pt>
    <dgm:pt modelId="{44A3A6B3-D981-4516-B31A-5FD34640A4D1}" type="parTrans" cxnId="{2639189C-935F-4B95-8E2D-781878D3100B}">
      <dgm:prSet/>
      <dgm:spPr/>
      <dgm:t>
        <a:bodyPr/>
        <a:lstStyle/>
        <a:p>
          <a:endParaRPr lang="en-US"/>
        </a:p>
      </dgm:t>
    </dgm:pt>
    <dgm:pt modelId="{BE8D5B73-E617-4737-A27E-5D8C2EF97786}" type="sibTrans" cxnId="{2639189C-935F-4B95-8E2D-781878D3100B}">
      <dgm:prSet/>
      <dgm:spPr/>
      <dgm:t>
        <a:bodyPr/>
        <a:lstStyle/>
        <a:p>
          <a:endParaRPr lang="en-US"/>
        </a:p>
      </dgm:t>
    </dgm:pt>
    <dgm:pt modelId="{033D4191-26FC-4804-897B-DD55D8DC3264}" type="pres">
      <dgm:prSet presAssocID="{D5666D59-FB6A-41CF-81A2-A24A5C48F3F2}" presName="diagram" presStyleCnt="0">
        <dgm:presLayoutVars>
          <dgm:dir/>
          <dgm:resizeHandles val="exact"/>
        </dgm:presLayoutVars>
      </dgm:prSet>
      <dgm:spPr/>
    </dgm:pt>
    <dgm:pt modelId="{C57C4783-5E52-40FC-A261-E8B16E688B7C}" type="pres">
      <dgm:prSet presAssocID="{238D9C87-E336-4948-90AE-2236C7655197}" presName="node" presStyleLbl="node1" presStyleIdx="0" presStyleCnt="3">
        <dgm:presLayoutVars>
          <dgm:bulletEnabled val="1"/>
        </dgm:presLayoutVars>
      </dgm:prSet>
      <dgm:spPr/>
    </dgm:pt>
    <dgm:pt modelId="{F50E666B-5118-4AA2-96D5-0B760D2BCA5A}" type="pres">
      <dgm:prSet presAssocID="{056BBC2B-1116-4C29-B120-CE6F2B2DC0B0}" presName="sibTrans" presStyleCnt="0"/>
      <dgm:spPr/>
    </dgm:pt>
    <dgm:pt modelId="{7FDFDFD1-6A06-4FC4-B4CB-7FD100ED4A06}" type="pres">
      <dgm:prSet presAssocID="{43CC36B0-FFB8-4A5D-959C-BF3DEA8A7D3A}" presName="node" presStyleLbl="node1" presStyleIdx="1" presStyleCnt="3">
        <dgm:presLayoutVars>
          <dgm:bulletEnabled val="1"/>
        </dgm:presLayoutVars>
      </dgm:prSet>
      <dgm:spPr/>
    </dgm:pt>
    <dgm:pt modelId="{0B82472E-24E0-4DC9-B233-AE49B009769D}" type="pres">
      <dgm:prSet presAssocID="{D514E4EA-41FF-456B-A066-10F040D79B0A}" presName="sibTrans" presStyleCnt="0"/>
      <dgm:spPr/>
    </dgm:pt>
    <dgm:pt modelId="{EA5E8A59-82FE-45FD-BD38-A7B761145CA9}" type="pres">
      <dgm:prSet presAssocID="{F929E947-7EF1-4D57-B6F3-EF21CAA6E990}" presName="node" presStyleLbl="node1" presStyleIdx="2" presStyleCnt="3">
        <dgm:presLayoutVars>
          <dgm:bulletEnabled val="1"/>
        </dgm:presLayoutVars>
      </dgm:prSet>
      <dgm:spPr/>
    </dgm:pt>
  </dgm:ptLst>
  <dgm:cxnLst>
    <dgm:cxn modelId="{D53C8901-6514-477D-93DF-F564FBD21D76}" type="presOf" srcId="{43CC36B0-FFB8-4A5D-959C-BF3DEA8A7D3A}" destId="{7FDFDFD1-6A06-4FC4-B4CB-7FD100ED4A06}" srcOrd="0" destOrd="0" presId="urn:microsoft.com/office/officeart/2005/8/layout/default"/>
    <dgm:cxn modelId="{62174B66-84E3-4763-ABCB-268FC89BFDE7}" type="presOf" srcId="{F929E947-7EF1-4D57-B6F3-EF21CAA6E990}" destId="{EA5E8A59-82FE-45FD-BD38-A7B761145CA9}" srcOrd="0" destOrd="0" presId="urn:microsoft.com/office/officeart/2005/8/layout/default"/>
    <dgm:cxn modelId="{E9E9F794-D380-4C9E-9D19-B5C2B2AC717E}" srcId="{D5666D59-FB6A-41CF-81A2-A24A5C48F3F2}" destId="{43CC36B0-FFB8-4A5D-959C-BF3DEA8A7D3A}" srcOrd="1" destOrd="0" parTransId="{C0446AA8-7649-45B8-BD16-7D4FC1C0C2A0}" sibTransId="{D514E4EA-41FF-456B-A066-10F040D79B0A}"/>
    <dgm:cxn modelId="{2639189C-935F-4B95-8E2D-781878D3100B}" srcId="{D5666D59-FB6A-41CF-81A2-A24A5C48F3F2}" destId="{F929E947-7EF1-4D57-B6F3-EF21CAA6E990}" srcOrd="2" destOrd="0" parTransId="{44A3A6B3-D981-4516-B31A-5FD34640A4D1}" sibTransId="{BE8D5B73-E617-4737-A27E-5D8C2EF97786}"/>
    <dgm:cxn modelId="{BD5C2AAE-5E1D-45EB-9F67-E533BAD4F0F5}" srcId="{D5666D59-FB6A-41CF-81A2-A24A5C48F3F2}" destId="{238D9C87-E336-4948-90AE-2236C7655197}" srcOrd="0" destOrd="0" parTransId="{F7B9D3CF-7433-467F-AD90-F88A9DB0C2FE}" sibTransId="{056BBC2B-1116-4C29-B120-CE6F2B2DC0B0}"/>
    <dgm:cxn modelId="{9CD3A5C9-7F26-413B-8C2C-EA92CD823A4A}" type="presOf" srcId="{D5666D59-FB6A-41CF-81A2-A24A5C48F3F2}" destId="{033D4191-26FC-4804-897B-DD55D8DC3264}" srcOrd="0" destOrd="0" presId="urn:microsoft.com/office/officeart/2005/8/layout/default"/>
    <dgm:cxn modelId="{A1350AFA-FF10-451C-B586-31A30631FA84}" type="presOf" srcId="{238D9C87-E336-4948-90AE-2236C7655197}" destId="{C57C4783-5E52-40FC-A261-E8B16E688B7C}" srcOrd="0" destOrd="0" presId="urn:microsoft.com/office/officeart/2005/8/layout/default"/>
    <dgm:cxn modelId="{BCA04CF3-A646-4E4F-8DFE-0F568C532C5E}" type="presParOf" srcId="{033D4191-26FC-4804-897B-DD55D8DC3264}" destId="{C57C4783-5E52-40FC-A261-E8B16E688B7C}" srcOrd="0" destOrd="0" presId="urn:microsoft.com/office/officeart/2005/8/layout/default"/>
    <dgm:cxn modelId="{03C85A95-1199-4E16-A4E1-BBC0EED336EB}" type="presParOf" srcId="{033D4191-26FC-4804-897B-DD55D8DC3264}" destId="{F50E666B-5118-4AA2-96D5-0B760D2BCA5A}" srcOrd="1" destOrd="0" presId="urn:microsoft.com/office/officeart/2005/8/layout/default"/>
    <dgm:cxn modelId="{23158786-D8E6-4C96-B5D7-80B2393A6A91}" type="presParOf" srcId="{033D4191-26FC-4804-897B-DD55D8DC3264}" destId="{7FDFDFD1-6A06-4FC4-B4CB-7FD100ED4A06}" srcOrd="2" destOrd="0" presId="urn:microsoft.com/office/officeart/2005/8/layout/default"/>
    <dgm:cxn modelId="{449EF5A1-B451-4880-80E4-54C2AC94235A}" type="presParOf" srcId="{033D4191-26FC-4804-897B-DD55D8DC3264}" destId="{0B82472E-24E0-4DC9-B233-AE49B009769D}" srcOrd="3" destOrd="0" presId="urn:microsoft.com/office/officeart/2005/8/layout/default"/>
    <dgm:cxn modelId="{0D2900BC-306D-4F3F-8A63-64C64472E5E2}" type="presParOf" srcId="{033D4191-26FC-4804-897B-DD55D8DC3264}" destId="{EA5E8A59-82FE-45FD-BD38-A7B761145CA9}" srcOrd="4"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00D6BCB-0B44-4964-99DB-DC90C7B49744}" type="doc">
      <dgm:prSet loTypeId="urn:microsoft.com/office/officeart/2005/8/layout/hierarchy4" loCatId="list" qsTypeId="urn:microsoft.com/office/officeart/2005/8/quickstyle/simple1" qsCatId="simple" csTypeId="urn:microsoft.com/office/officeart/2005/8/colors/accent2_1" csCatId="accent2"/>
      <dgm:spPr/>
      <dgm:t>
        <a:bodyPr/>
        <a:lstStyle/>
        <a:p>
          <a:endParaRPr lang="en-US"/>
        </a:p>
      </dgm:t>
    </dgm:pt>
    <dgm:pt modelId="{E9021D0D-567F-47E0-9A3B-5AD55AC947CD}">
      <dgm:prSet custT="1"/>
      <dgm:spPr/>
      <dgm:t>
        <a:bodyPr/>
        <a:lstStyle/>
        <a:p>
          <a:r>
            <a:rPr lang="en-US" sz="2000"/>
            <a:t>Create a dedicated variable to hold errors from a </a:t>
          </a:r>
          <a:r>
            <a:rPr lang="en-US" sz="2000" b="1"/>
            <a:t>specific</a:t>
          </a:r>
          <a:r>
            <a:rPr lang="en-US" sz="2000"/>
            <a:t> cmdlet call</a:t>
          </a:r>
        </a:p>
      </dgm:t>
    </dgm:pt>
    <dgm:pt modelId="{55A85E4C-1639-4A26-B219-11FFFE13B363}" type="parTrans" cxnId="{82859A4E-6ED8-4EBB-8392-BEB4EF0F8527}">
      <dgm:prSet/>
      <dgm:spPr/>
      <dgm:t>
        <a:bodyPr/>
        <a:lstStyle/>
        <a:p>
          <a:endParaRPr lang="en-US" sz="2000"/>
        </a:p>
      </dgm:t>
    </dgm:pt>
    <dgm:pt modelId="{FA278521-DEA3-411A-8B54-1495BDAFB173}" type="sibTrans" cxnId="{82859A4E-6ED8-4EBB-8392-BEB4EF0F8527}">
      <dgm:prSet/>
      <dgm:spPr/>
      <dgm:t>
        <a:bodyPr/>
        <a:lstStyle/>
        <a:p>
          <a:endParaRPr lang="en-US" sz="2000"/>
        </a:p>
      </dgm:t>
    </dgm:pt>
    <dgm:pt modelId="{C230E1D0-95ED-4EB6-B116-FC4E4F664BF1}">
      <dgm:prSet custT="1"/>
      <dgm:spPr/>
      <dgm:t>
        <a:bodyPr/>
        <a:lstStyle/>
        <a:p>
          <a:r>
            <a:rPr lang="en-US" sz="2000"/>
            <a:t>Error record also goes to </a:t>
          </a:r>
          <a:r>
            <a:rPr lang="en-US" sz="2000" b="1"/>
            <a:t>$Error</a:t>
          </a:r>
          <a:endParaRPr lang="en-US" sz="2000"/>
        </a:p>
      </dgm:t>
    </dgm:pt>
    <dgm:pt modelId="{8278EE1D-CF26-44F7-963C-E18D8B051DFB}" type="parTrans" cxnId="{7C032A73-7D02-41A1-88BE-ED132FDB0707}">
      <dgm:prSet/>
      <dgm:spPr/>
      <dgm:t>
        <a:bodyPr/>
        <a:lstStyle/>
        <a:p>
          <a:endParaRPr lang="en-US" sz="2000"/>
        </a:p>
      </dgm:t>
    </dgm:pt>
    <dgm:pt modelId="{14B357A3-C733-4790-B219-36627F0B18FE}" type="sibTrans" cxnId="{7C032A73-7D02-41A1-88BE-ED132FDB0707}">
      <dgm:prSet/>
      <dgm:spPr/>
      <dgm:t>
        <a:bodyPr/>
        <a:lstStyle/>
        <a:p>
          <a:endParaRPr lang="en-US" sz="2000"/>
        </a:p>
      </dgm:t>
    </dgm:pt>
    <dgm:pt modelId="{40BFE304-3BD6-4019-94B1-032045B67F21}">
      <dgm:prSet custT="1"/>
      <dgm:spPr/>
      <dgm:t>
        <a:bodyPr/>
        <a:lstStyle/>
        <a:p>
          <a:r>
            <a:rPr lang="en-US" sz="2000"/>
            <a:t>Set to </a:t>
          </a:r>
          <a:r>
            <a:rPr lang="en-US" sz="2000" b="1"/>
            <a:t>null</a:t>
          </a:r>
          <a:r>
            <a:rPr lang="en-US" sz="2000"/>
            <a:t> if no errors occurred</a:t>
          </a:r>
        </a:p>
      </dgm:t>
    </dgm:pt>
    <dgm:pt modelId="{4C8980B0-ED77-4DA6-A1A3-14BBD85F239B}" type="parTrans" cxnId="{8DE84ABE-1DD6-49B3-A85B-346CEACFDADB}">
      <dgm:prSet/>
      <dgm:spPr/>
      <dgm:t>
        <a:bodyPr/>
        <a:lstStyle/>
        <a:p>
          <a:endParaRPr lang="en-US" sz="2000"/>
        </a:p>
      </dgm:t>
    </dgm:pt>
    <dgm:pt modelId="{9CEAD169-BE11-45A6-A25A-B1C2F6526111}" type="sibTrans" cxnId="{8DE84ABE-1DD6-49B3-A85B-346CEACFDADB}">
      <dgm:prSet/>
      <dgm:spPr/>
      <dgm:t>
        <a:bodyPr/>
        <a:lstStyle/>
        <a:p>
          <a:endParaRPr lang="en-US" sz="2000"/>
        </a:p>
      </dgm:t>
    </dgm:pt>
    <dgm:pt modelId="{686C35A3-5E23-4765-9800-C559858971A2}">
      <dgm:prSet custT="1"/>
      <dgm:spPr/>
      <dgm:t>
        <a:bodyPr/>
        <a:lstStyle/>
        <a:p>
          <a:r>
            <a:rPr lang="en-US" sz="2000"/>
            <a:t>Allows for looping over </a:t>
          </a:r>
          <a:r>
            <a:rPr lang="en-US" sz="2000" b="1"/>
            <a:t>multiple</a:t>
          </a:r>
          <a:r>
            <a:rPr lang="en-US" sz="2000"/>
            <a:t> errors generated by the same cmdlet</a:t>
          </a:r>
        </a:p>
      </dgm:t>
    </dgm:pt>
    <dgm:pt modelId="{A97EBAD0-F998-4528-AE20-879D1DA1D7F3}" type="parTrans" cxnId="{BCCCC33F-B5C1-4396-A111-F1BFB681E0AA}">
      <dgm:prSet/>
      <dgm:spPr/>
      <dgm:t>
        <a:bodyPr/>
        <a:lstStyle/>
        <a:p>
          <a:endParaRPr lang="en-US" sz="2000"/>
        </a:p>
      </dgm:t>
    </dgm:pt>
    <dgm:pt modelId="{60CCE178-5B26-4179-B24A-A3317B4BD80D}" type="sibTrans" cxnId="{BCCCC33F-B5C1-4396-A111-F1BFB681E0AA}">
      <dgm:prSet/>
      <dgm:spPr/>
      <dgm:t>
        <a:bodyPr/>
        <a:lstStyle/>
        <a:p>
          <a:endParaRPr lang="en-US" sz="2000"/>
        </a:p>
      </dgm:t>
    </dgm:pt>
    <dgm:pt modelId="{99BD06B4-EFC1-45CD-9D6A-A683F8A2600D}" type="pres">
      <dgm:prSet presAssocID="{500D6BCB-0B44-4964-99DB-DC90C7B49744}" presName="Name0" presStyleCnt="0">
        <dgm:presLayoutVars>
          <dgm:chPref val="1"/>
          <dgm:dir/>
          <dgm:animOne val="branch"/>
          <dgm:animLvl val="lvl"/>
          <dgm:resizeHandles/>
        </dgm:presLayoutVars>
      </dgm:prSet>
      <dgm:spPr/>
    </dgm:pt>
    <dgm:pt modelId="{90561B63-60D4-46A2-A4E8-2D946B2C714A}" type="pres">
      <dgm:prSet presAssocID="{E9021D0D-567F-47E0-9A3B-5AD55AC947CD}" presName="vertOne" presStyleCnt="0"/>
      <dgm:spPr/>
    </dgm:pt>
    <dgm:pt modelId="{B9644199-1AA6-4EE2-A945-418CECBE52B7}" type="pres">
      <dgm:prSet presAssocID="{E9021D0D-567F-47E0-9A3B-5AD55AC947CD}" presName="txOne" presStyleLbl="node0" presStyleIdx="0" presStyleCnt="4">
        <dgm:presLayoutVars>
          <dgm:chPref val="3"/>
        </dgm:presLayoutVars>
      </dgm:prSet>
      <dgm:spPr/>
    </dgm:pt>
    <dgm:pt modelId="{D5732F22-4208-4358-98B4-1BB40EACE9D2}" type="pres">
      <dgm:prSet presAssocID="{E9021D0D-567F-47E0-9A3B-5AD55AC947CD}" presName="horzOne" presStyleCnt="0"/>
      <dgm:spPr/>
    </dgm:pt>
    <dgm:pt modelId="{10C46520-A02D-4287-BDB0-B117697ECEEF}" type="pres">
      <dgm:prSet presAssocID="{FA278521-DEA3-411A-8B54-1495BDAFB173}" presName="sibSpaceOne" presStyleCnt="0"/>
      <dgm:spPr/>
    </dgm:pt>
    <dgm:pt modelId="{078F088B-16CF-4F22-AE2A-D8BC77BD6AA3}" type="pres">
      <dgm:prSet presAssocID="{C230E1D0-95ED-4EB6-B116-FC4E4F664BF1}" presName="vertOne" presStyleCnt="0"/>
      <dgm:spPr/>
    </dgm:pt>
    <dgm:pt modelId="{1EA41127-161B-4C81-BCDE-8902AC236247}" type="pres">
      <dgm:prSet presAssocID="{C230E1D0-95ED-4EB6-B116-FC4E4F664BF1}" presName="txOne" presStyleLbl="node0" presStyleIdx="1" presStyleCnt="4">
        <dgm:presLayoutVars>
          <dgm:chPref val="3"/>
        </dgm:presLayoutVars>
      </dgm:prSet>
      <dgm:spPr/>
    </dgm:pt>
    <dgm:pt modelId="{705FA5EE-5B15-4728-9203-8F7436E64CE6}" type="pres">
      <dgm:prSet presAssocID="{C230E1D0-95ED-4EB6-B116-FC4E4F664BF1}" presName="horzOne" presStyleCnt="0"/>
      <dgm:spPr/>
    </dgm:pt>
    <dgm:pt modelId="{19F5737F-4A0E-4F6B-AC32-71A9C3F94600}" type="pres">
      <dgm:prSet presAssocID="{14B357A3-C733-4790-B219-36627F0B18FE}" presName="sibSpaceOne" presStyleCnt="0"/>
      <dgm:spPr/>
    </dgm:pt>
    <dgm:pt modelId="{B5E26DE7-745B-49BC-8007-4931EBFB03F4}" type="pres">
      <dgm:prSet presAssocID="{40BFE304-3BD6-4019-94B1-032045B67F21}" presName="vertOne" presStyleCnt="0"/>
      <dgm:spPr/>
    </dgm:pt>
    <dgm:pt modelId="{466865F3-B4A2-4F8C-8CEB-82DCBD9FE93C}" type="pres">
      <dgm:prSet presAssocID="{40BFE304-3BD6-4019-94B1-032045B67F21}" presName="txOne" presStyleLbl="node0" presStyleIdx="2" presStyleCnt="4">
        <dgm:presLayoutVars>
          <dgm:chPref val="3"/>
        </dgm:presLayoutVars>
      </dgm:prSet>
      <dgm:spPr/>
    </dgm:pt>
    <dgm:pt modelId="{78858FE0-230B-4A0F-90D9-A84F0759C48B}" type="pres">
      <dgm:prSet presAssocID="{40BFE304-3BD6-4019-94B1-032045B67F21}" presName="horzOne" presStyleCnt="0"/>
      <dgm:spPr/>
    </dgm:pt>
    <dgm:pt modelId="{17DFC5DD-4AF3-4C57-A59D-891149AEE596}" type="pres">
      <dgm:prSet presAssocID="{9CEAD169-BE11-45A6-A25A-B1C2F6526111}" presName="sibSpaceOne" presStyleCnt="0"/>
      <dgm:spPr/>
    </dgm:pt>
    <dgm:pt modelId="{1E71C080-0BC3-4F07-BCE1-5F12DE96565E}" type="pres">
      <dgm:prSet presAssocID="{686C35A3-5E23-4765-9800-C559858971A2}" presName="vertOne" presStyleCnt="0"/>
      <dgm:spPr/>
    </dgm:pt>
    <dgm:pt modelId="{23966F77-587F-4948-BB58-9F12A78CC48A}" type="pres">
      <dgm:prSet presAssocID="{686C35A3-5E23-4765-9800-C559858971A2}" presName="txOne" presStyleLbl="node0" presStyleIdx="3" presStyleCnt="4">
        <dgm:presLayoutVars>
          <dgm:chPref val="3"/>
        </dgm:presLayoutVars>
      </dgm:prSet>
      <dgm:spPr/>
    </dgm:pt>
    <dgm:pt modelId="{45AFBD7E-5487-4A31-A6D6-0B059174B0BC}" type="pres">
      <dgm:prSet presAssocID="{686C35A3-5E23-4765-9800-C559858971A2}" presName="horzOne" presStyleCnt="0"/>
      <dgm:spPr/>
    </dgm:pt>
  </dgm:ptLst>
  <dgm:cxnLst>
    <dgm:cxn modelId="{44A0EA09-AB0D-4442-AD9C-1E2CF8D99F7E}" type="presOf" srcId="{C230E1D0-95ED-4EB6-B116-FC4E4F664BF1}" destId="{1EA41127-161B-4C81-BCDE-8902AC236247}" srcOrd="0" destOrd="0" presId="urn:microsoft.com/office/officeart/2005/8/layout/hierarchy4"/>
    <dgm:cxn modelId="{BCCCC33F-B5C1-4396-A111-F1BFB681E0AA}" srcId="{500D6BCB-0B44-4964-99DB-DC90C7B49744}" destId="{686C35A3-5E23-4765-9800-C559858971A2}" srcOrd="3" destOrd="0" parTransId="{A97EBAD0-F998-4528-AE20-879D1DA1D7F3}" sibTransId="{60CCE178-5B26-4179-B24A-A3317B4BD80D}"/>
    <dgm:cxn modelId="{82859A4E-6ED8-4EBB-8392-BEB4EF0F8527}" srcId="{500D6BCB-0B44-4964-99DB-DC90C7B49744}" destId="{E9021D0D-567F-47E0-9A3B-5AD55AC947CD}" srcOrd="0" destOrd="0" parTransId="{55A85E4C-1639-4A26-B219-11FFFE13B363}" sibTransId="{FA278521-DEA3-411A-8B54-1495BDAFB173}"/>
    <dgm:cxn modelId="{7C032A73-7D02-41A1-88BE-ED132FDB0707}" srcId="{500D6BCB-0B44-4964-99DB-DC90C7B49744}" destId="{C230E1D0-95ED-4EB6-B116-FC4E4F664BF1}" srcOrd="1" destOrd="0" parTransId="{8278EE1D-CF26-44F7-963C-E18D8B051DFB}" sibTransId="{14B357A3-C733-4790-B219-36627F0B18FE}"/>
    <dgm:cxn modelId="{1C958586-0F95-4D27-9438-C90DFA8ED72C}" type="presOf" srcId="{500D6BCB-0B44-4964-99DB-DC90C7B49744}" destId="{99BD06B4-EFC1-45CD-9D6A-A683F8A2600D}" srcOrd="0" destOrd="0" presId="urn:microsoft.com/office/officeart/2005/8/layout/hierarchy4"/>
    <dgm:cxn modelId="{8DE84ABE-1DD6-49B3-A85B-346CEACFDADB}" srcId="{500D6BCB-0B44-4964-99DB-DC90C7B49744}" destId="{40BFE304-3BD6-4019-94B1-032045B67F21}" srcOrd="2" destOrd="0" parTransId="{4C8980B0-ED77-4DA6-A1A3-14BBD85F239B}" sibTransId="{9CEAD169-BE11-45A6-A25A-B1C2F6526111}"/>
    <dgm:cxn modelId="{4A43DCE2-91EA-49B1-A613-12AE7C00FEA5}" type="presOf" srcId="{686C35A3-5E23-4765-9800-C559858971A2}" destId="{23966F77-587F-4948-BB58-9F12A78CC48A}" srcOrd="0" destOrd="0" presId="urn:microsoft.com/office/officeart/2005/8/layout/hierarchy4"/>
    <dgm:cxn modelId="{76E114E9-45A3-4D58-ADB2-7E84CFEFA4FF}" type="presOf" srcId="{40BFE304-3BD6-4019-94B1-032045B67F21}" destId="{466865F3-B4A2-4F8C-8CEB-82DCBD9FE93C}" srcOrd="0" destOrd="0" presId="urn:microsoft.com/office/officeart/2005/8/layout/hierarchy4"/>
    <dgm:cxn modelId="{6E6389FD-D34C-4841-9073-82302CF186D3}" type="presOf" srcId="{E9021D0D-567F-47E0-9A3B-5AD55AC947CD}" destId="{B9644199-1AA6-4EE2-A945-418CECBE52B7}" srcOrd="0" destOrd="0" presId="urn:microsoft.com/office/officeart/2005/8/layout/hierarchy4"/>
    <dgm:cxn modelId="{FE4EDE20-1A44-4093-B986-485CF30A5FAD}" type="presParOf" srcId="{99BD06B4-EFC1-45CD-9D6A-A683F8A2600D}" destId="{90561B63-60D4-46A2-A4E8-2D946B2C714A}" srcOrd="0" destOrd="0" presId="urn:microsoft.com/office/officeart/2005/8/layout/hierarchy4"/>
    <dgm:cxn modelId="{4959705E-65CD-4DD5-8227-83CD88A0DD5B}" type="presParOf" srcId="{90561B63-60D4-46A2-A4E8-2D946B2C714A}" destId="{B9644199-1AA6-4EE2-A945-418CECBE52B7}" srcOrd="0" destOrd="0" presId="urn:microsoft.com/office/officeart/2005/8/layout/hierarchy4"/>
    <dgm:cxn modelId="{56D4B51F-B313-4416-B986-F15B6C84AB26}" type="presParOf" srcId="{90561B63-60D4-46A2-A4E8-2D946B2C714A}" destId="{D5732F22-4208-4358-98B4-1BB40EACE9D2}" srcOrd="1" destOrd="0" presId="urn:microsoft.com/office/officeart/2005/8/layout/hierarchy4"/>
    <dgm:cxn modelId="{15E47447-F17F-408A-868B-620B74DAED13}" type="presParOf" srcId="{99BD06B4-EFC1-45CD-9D6A-A683F8A2600D}" destId="{10C46520-A02D-4287-BDB0-B117697ECEEF}" srcOrd="1" destOrd="0" presId="urn:microsoft.com/office/officeart/2005/8/layout/hierarchy4"/>
    <dgm:cxn modelId="{27085FCC-F14C-4EDC-AEE7-08325C26B9CD}" type="presParOf" srcId="{99BD06B4-EFC1-45CD-9D6A-A683F8A2600D}" destId="{078F088B-16CF-4F22-AE2A-D8BC77BD6AA3}" srcOrd="2" destOrd="0" presId="urn:microsoft.com/office/officeart/2005/8/layout/hierarchy4"/>
    <dgm:cxn modelId="{68521F69-2C4B-4D9E-B33E-DE90A38B4FB1}" type="presParOf" srcId="{078F088B-16CF-4F22-AE2A-D8BC77BD6AA3}" destId="{1EA41127-161B-4C81-BCDE-8902AC236247}" srcOrd="0" destOrd="0" presId="urn:microsoft.com/office/officeart/2005/8/layout/hierarchy4"/>
    <dgm:cxn modelId="{632963C8-3D74-4DF8-9515-B96CFB71DA2F}" type="presParOf" srcId="{078F088B-16CF-4F22-AE2A-D8BC77BD6AA3}" destId="{705FA5EE-5B15-4728-9203-8F7436E64CE6}" srcOrd="1" destOrd="0" presId="urn:microsoft.com/office/officeart/2005/8/layout/hierarchy4"/>
    <dgm:cxn modelId="{C3BF6B82-306A-43AB-9243-047E6C77F378}" type="presParOf" srcId="{99BD06B4-EFC1-45CD-9D6A-A683F8A2600D}" destId="{19F5737F-4A0E-4F6B-AC32-71A9C3F94600}" srcOrd="3" destOrd="0" presId="urn:microsoft.com/office/officeart/2005/8/layout/hierarchy4"/>
    <dgm:cxn modelId="{6666C54C-364F-425C-B2BA-EED72F959FE2}" type="presParOf" srcId="{99BD06B4-EFC1-45CD-9D6A-A683F8A2600D}" destId="{B5E26DE7-745B-49BC-8007-4931EBFB03F4}" srcOrd="4" destOrd="0" presId="urn:microsoft.com/office/officeart/2005/8/layout/hierarchy4"/>
    <dgm:cxn modelId="{744FEF2D-6E50-47A6-A873-3BE8F43C5928}" type="presParOf" srcId="{B5E26DE7-745B-49BC-8007-4931EBFB03F4}" destId="{466865F3-B4A2-4F8C-8CEB-82DCBD9FE93C}" srcOrd="0" destOrd="0" presId="urn:microsoft.com/office/officeart/2005/8/layout/hierarchy4"/>
    <dgm:cxn modelId="{716C5D6B-ED5D-4F30-ACF7-DFECD48EBCE9}" type="presParOf" srcId="{B5E26DE7-745B-49BC-8007-4931EBFB03F4}" destId="{78858FE0-230B-4A0F-90D9-A84F0759C48B}" srcOrd="1" destOrd="0" presId="urn:microsoft.com/office/officeart/2005/8/layout/hierarchy4"/>
    <dgm:cxn modelId="{216C3B9E-4F15-4AD6-9074-F88096B4927C}" type="presParOf" srcId="{99BD06B4-EFC1-45CD-9D6A-A683F8A2600D}" destId="{17DFC5DD-4AF3-4C57-A59D-891149AEE596}" srcOrd="5" destOrd="0" presId="urn:microsoft.com/office/officeart/2005/8/layout/hierarchy4"/>
    <dgm:cxn modelId="{BEC6AD63-26D8-44EA-9E7F-48F348C80DC7}" type="presParOf" srcId="{99BD06B4-EFC1-45CD-9D6A-A683F8A2600D}" destId="{1E71C080-0BC3-4F07-BCE1-5F12DE96565E}" srcOrd="6" destOrd="0" presId="urn:microsoft.com/office/officeart/2005/8/layout/hierarchy4"/>
    <dgm:cxn modelId="{0A5AA238-D9DF-4627-9DDD-A4B66739A627}" type="presParOf" srcId="{1E71C080-0BC3-4F07-BCE1-5F12DE96565E}" destId="{23966F77-587F-4948-BB58-9F12A78CC48A}" srcOrd="0" destOrd="0" presId="urn:microsoft.com/office/officeart/2005/8/layout/hierarchy4"/>
    <dgm:cxn modelId="{EE2CFB00-B8E7-45EA-A5A1-4E495C3F3575}" type="presParOf" srcId="{1E71C080-0BC3-4F07-BCE1-5F12DE96565E}" destId="{45AFBD7E-5487-4A31-A6D6-0B059174B0BC}"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98DC4056-5757-4F0F-BFF2-92F389BB8D1E}"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F4504842-2C3C-47AE-A2DE-96DFD231FB9B}">
      <dgm:prSet custT="1"/>
      <dgm:spPr/>
      <dgm:t>
        <a:bodyPr/>
        <a:lstStyle/>
        <a:p>
          <a:r>
            <a:rPr lang="en-US" sz="2400" b="1" baseline="0"/>
            <a:t>Creates</a:t>
          </a:r>
          <a:r>
            <a:rPr lang="en-US" sz="2400" baseline="0"/>
            <a:t> a non-terminating error</a:t>
          </a:r>
          <a:endParaRPr lang="en-US" sz="2400"/>
        </a:p>
      </dgm:t>
    </dgm:pt>
    <dgm:pt modelId="{E37CC8E3-239F-4582-84C3-ECE60BBF4D66}" type="parTrans" cxnId="{9CBA6B08-680A-40E0-9BBE-7635D10DC9F0}">
      <dgm:prSet/>
      <dgm:spPr/>
      <dgm:t>
        <a:bodyPr/>
        <a:lstStyle/>
        <a:p>
          <a:endParaRPr lang="en-US" sz="2400"/>
        </a:p>
      </dgm:t>
    </dgm:pt>
    <dgm:pt modelId="{9273D990-CF92-4512-B2CC-CCBADAF24B2F}" type="sibTrans" cxnId="{9CBA6B08-680A-40E0-9BBE-7635D10DC9F0}">
      <dgm:prSet/>
      <dgm:spPr/>
      <dgm:t>
        <a:bodyPr/>
        <a:lstStyle/>
        <a:p>
          <a:endParaRPr lang="en-US" sz="2400"/>
        </a:p>
      </dgm:t>
    </dgm:pt>
    <dgm:pt modelId="{6179DF7C-2696-4AB7-BCDB-E7148AD25A29}">
      <dgm:prSet custT="1"/>
      <dgm:spPr/>
      <dgm:t>
        <a:bodyPr/>
        <a:lstStyle/>
        <a:p>
          <a:r>
            <a:rPr lang="en-US" sz="2400" baseline="0"/>
            <a:t>Stored in </a:t>
          </a:r>
          <a:r>
            <a:rPr lang="en-US" sz="2400" b="1" baseline="0"/>
            <a:t>$Error</a:t>
          </a:r>
          <a:endParaRPr lang="en-US" sz="2400"/>
        </a:p>
      </dgm:t>
    </dgm:pt>
    <dgm:pt modelId="{EA94B00F-C888-4A84-89B7-3A574A8B81FB}" type="parTrans" cxnId="{AC9248F6-E4AB-4F04-A1F8-DB60B0ED5C88}">
      <dgm:prSet/>
      <dgm:spPr/>
      <dgm:t>
        <a:bodyPr/>
        <a:lstStyle/>
        <a:p>
          <a:endParaRPr lang="en-US" sz="2400"/>
        </a:p>
      </dgm:t>
    </dgm:pt>
    <dgm:pt modelId="{99F9FB47-2E76-4389-9798-09E79AFD4031}" type="sibTrans" cxnId="{AC9248F6-E4AB-4F04-A1F8-DB60B0ED5C88}">
      <dgm:prSet/>
      <dgm:spPr/>
      <dgm:t>
        <a:bodyPr/>
        <a:lstStyle/>
        <a:p>
          <a:endParaRPr lang="en-US" sz="2400"/>
        </a:p>
      </dgm:t>
    </dgm:pt>
    <dgm:pt modelId="{266A81D9-C5C5-493E-9969-A09E25729845}">
      <dgm:prSet custT="1"/>
      <dgm:spPr/>
      <dgm:t>
        <a:bodyPr/>
        <a:lstStyle/>
        <a:p>
          <a:r>
            <a:rPr lang="en-US" sz="2400" baseline="0"/>
            <a:t>Used by functions to </a:t>
          </a:r>
          <a:r>
            <a:rPr lang="en-US" sz="2400" b="1" baseline="0"/>
            <a:t>report</a:t>
          </a:r>
          <a:r>
            <a:rPr lang="en-US" sz="2400" baseline="0"/>
            <a:t> errors to caller</a:t>
          </a:r>
          <a:endParaRPr lang="en-US" sz="2400"/>
        </a:p>
      </dgm:t>
    </dgm:pt>
    <dgm:pt modelId="{6AB062B0-EC45-4979-9FA7-06A1EBDBE20B}" type="parTrans" cxnId="{AD51A368-36FE-4366-B9F0-273D6CF0C2CF}">
      <dgm:prSet/>
      <dgm:spPr/>
      <dgm:t>
        <a:bodyPr/>
        <a:lstStyle/>
        <a:p>
          <a:endParaRPr lang="en-US" sz="2400"/>
        </a:p>
      </dgm:t>
    </dgm:pt>
    <dgm:pt modelId="{767571AA-D97B-4309-8A6A-322870B4C6F4}" type="sibTrans" cxnId="{AD51A368-36FE-4366-B9F0-273D6CF0C2CF}">
      <dgm:prSet/>
      <dgm:spPr/>
      <dgm:t>
        <a:bodyPr/>
        <a:lstStyle/>
        <a:p>
          <a:endParaRPr lang="en-US" sz="2400"/>
        </a:p>
      </dgm:t>
    </dgm:pt>
    <dgm:pt modelId="{608F3216-D455-480D-9682-031853E29D83}" type="pres">
      <dgm:prSet presAssocID="{98DC4056-5757-4F0F-BFF2-92F389BB8D1E}" presName="vert0" presStyleCnt="0">
        <dgm:presLayoutVars>
          <dgm:dir/>
          <dgm:animOne val="branch"/>
          <dgm:animLvl val="lvl"/>
        </dgm:presLayoutVars>
      </dgm:prSet>
      <dgm:spPr/>
    </dgm:pt>
    <dgm:pt modelId="{C44366E9-1DB3-4585-8AE0-5FCC13BF84DE}" type="pres">
      <dgm:prSet presAssocID="{F4504842-2C3C-47AE-A2DE-96DFD231FB9B}" presName="thickLine" presStyleLbl="alignNode1" presStyleIdx="0" presStyleCnt="3"/>
      <dgm:spPr/>
    </dgm:pt>
    <dgm:pt modelId="{286657A9-EA1E-4ABC-AACE-AE3D567150AA}" type="pres">
      <dgm:prSet presAssocID="{F4504842-2C3C-47AE-A2DE-96DFD231FB9B}" presName="horz1" presStyleCnt="0"/>
      <dgm:spPr/>
    </dgm:pt>
    <dgm:pt modelId="{C8EC9A1A-E130-45F0-9A83-E71252F03E45}" type="pres">
      <dgm:prSet presAssocID="{F4504842-2C3C-47AE-A2DE-96DFD231FB9B}" presName="tx1" presStyleLbl="revTx" presStyleIdx="0" presStyleCnt="3"/>
      <dgm:spPr/>
    </dgm:pt>
    <dgm:pt modelId="{830B0CA6-0D4A-43F5-92C3-BAC18E0EABC2}" type="pres">
      <dgm:prSet presAssocID="{F4504842-2C3C-47AE-A2DE-96DFD231FB9B}" presName="vert1" presStyleCnt="0"/>
      <dgm:spPr/>
    </dgm:pt>
    <dgm:pt modelId="{1BC15048-492A-4F3A-859F-A94B25104786}" type="pres">
      <dgm:prSet presAssocID="{6179DF7C-2696-4AB7-BCDB-E7148AD25A29}" presName="thickLine" presStyleLbl="alignNode1" presStyleIdx="1" presStyleCnt="3"/>
      <dgm:spPr/>
    </dgm:pt>
    <dgm:pt modelId="{D23D9AE7-B5C6-45B7-9D92-65A4130D44C5}" type="pres">
      <dgm:prSet presAssocID="{6179DF7C-2696-4AB7-BCDB-E7148AD25A29}" presName="horz1" presStyleCnt="0"/>
      <dgm:spPr/>
    </dgm:pt>
    <dgm:pt modelId="{02CD1BAF-9DD5-4AFA-A1D7-3487D0FA9113}" type="pres">
      <dgm:prSet presAssocID="{6179DF7C-2696-4AB7-BCDB-E7148AD25A29}" presName="tx1" presStyleLbl="revTx" presStyleIdx="1" presStyleCnt="3"/>
      <dgm:spPr/>
    </dgm:pt>
    <dgm:pt modelId="{FD2FEB6E-27EA-4C48-9195-32D0D4CC9F07}" type="pres">
      <dgm:prSet presAssocID="{6179DF7C-2696-4AB7-BCDB-E7148AD25A29}" presName="vert1" presStyleCnt="0"/>
      <dgm:spPr/>
    </dgm:pt>
    <dgm:pt modelId="{0770318A-3C90-442C-9B02-728C49E10490}" type="pres">
      <dgm:prSet presAssocID="{266A81D9-C5C5-493E-9969-A09E25729845}" presName="thickLine" presStyleLbl="alignNode1" presStyleIdx="2" presStyleCnt="3"/>
      <dgm:spPr/>
    </dgm:pt>
    <dgm:pt modelId="{D193FE10-7EE6-4302-A981-46919E06EF72}" type="pres">
      <dgm:prSet presAssocID="{266A81D9-C5C5-493E-9969-A09E25729845}" presName="horz1" presStyleCnt="0"/>
      <dgm:spPr/>
    </dgm:pt>
    <dgm:pt modelId="{07F6C363-D0C6-42A2-9776-92552CA75045}" type="pres">
      <dgm:prSet presAssocID="{266A81D9-C5C5-493E-9969-A09E25729845}" presName="tx1" presStyleLbl="revTx" presStyleIdx="2" presStyleCnt="3"/>
      <dgm:spPr/>
    </dgm:pt>
    <dgm:pt modelId="{7F1E8F98-B6A9-4250-B515-BB85AE03C2BD}" type="pres">
      <dgm:prSet presAssocID="{266A81D9-C5C5-493E-9969-A09E25729845}" presName="vert1" presStyleCnt="0"/>
      <dgm:spPr/>
    </dgm:pt>
  </dgm:ptLst>
  <dgm:cxnLst>
    <dgm:cxn modelId="{9CBA6B08-680A-40E0-9BBE-7635D10DC9F0}" srcId="{98DC4056-5757-4F0F-BFF2-92F389BB8D1E}" destId="{F4504842-2C3C-47AE-A2DE-96DFD231FB9B}" srcOrd="0" destOrd="0" parTransId="{E37CC8E3-239F-4582-84C3-ECE60BBF4D66}" sibTransId="{9273D990-CF92-4512-B2CC-CCBADAF24B2F}"/>
    <dgm:cxn modelId="{45D96544-9756-4A00-B301-7C6EDE7EF9DB}" type="presOf" srcId="{98DC4056-5757-4F0F-BFF2-92F389BB8D1E}" destId="{608F3216-D455-480D-9682-031853E29D83}" srcOrd="0" destOrd="0" presId="urn:microsoft.com/office/officeart/2008/layout/LinedList"/>
    <dgm:cxn modelId="{AD51A368-36FE-4366-B9F0-273D6CF0C2CF}" srcId="{98DC4056-5757-4F0F-BFF2-92F389BB8D1E}" destId="{266A81D9-C5C5-493E-9969-A09E25729845}" srcOrd="2" destOrd="0" parTransId="{6AB062B0-EC45-4979-9FA7-06A1EBDBE20B}" sibTransId="{767571AA-D97B-4309-8A6A-322870B4C6F4}"/>
    <dgm:cxn modelId="{E99D2475-0A68-46B1-96F8-126E5FC729CB}" type="presOf" srcId="{266A81D9-C5C5-493E-9969-A09E25729845}" destId="{07F6C363-D0C6-42A2-9776-92552CA75045}" srcOrd="0" destOrd="0" presId="urn:microsoft.com/office/officeart/2008/layout/LinedList"/>
    <dgm:cxn modelId="{B638DA89-5F44-4A80-A61C-80E897E35C7E}" type="presOf" srcId="{F4504842-2C3C-47AE-A2DE-96DFD231FB9B}" destId="{C8EC9A1A-E130-45F0-9A83-E71252F03E45}" srcOrd="0" destOrd="0" presId="urn:microsoft.com/office/officeart/2008/layout/LinedList"/>
    <dgm:cxn modelId="{175CEDF5-8546-496C-9F1B-2A90652CCF54}" type="presOf" srcId="{6179DF7C-2696-4AB7-BCDB-E7148AD25A29}" destId="{02CD1BAF-9DD5-4AFA-A1D7-3487D0FA9113}" srcOrd="0" destOrd="0" presId="urn:microsoft.com/office/officeart/2008/layout/LinedList"/>
    <dgm:cxn modelId="{AC9248F6-E4AB-4F04-A1F8-DB60B0ED5C88}" srcId="{98DC4056-5757-4F0F-BFF2-92F389BB8D1E}" destId="{6179DF7C-2696-4AB7-BCDB-E7148AD25A29}" srcOrd="1" destOrd="0" parTransId="{EA94B00F-C888-4A84-89B7-3A574A8B81FB}" sibTransId="{99F9FB47-2E76-4389-9798-09E79AFD4031}"/>
    <dgm:cxn modelId="{4DD2B989-BBA0-4F06-B506-24F81D07E424}" type="presParOf" srcId="{608F3216-D455-480D-9682-031853E29D83}" destId="{C44366E9-1DB3-4585-8AE0-5FCC13BF84DE}" srcOrd="0" destOrd="0" presId="urn:microsoft.com/office/officeart/2008/layout/LinedList"/>
    <dgm:cxn modelId="{C3B824F0-BC48-43DA-89F1-83CE32D93DE1}" type="presParOf" srcId="{608F3216-D455-480D-9682-031853E29D83}" destId="{286657A9-EA1E-4ABC-AACE-AE3D567150AA}" srcOrd="1" destOrd="0" presId="urn:microsoft.com/office/officeart/2008/layout/LinedList"/>
    <dgm:cxn modelId="{FA473445-B1F7-43BA-9EAC-733E4824D2FD}" type="presParOf" srcId="{286657A9-EA1E-4ABC-AACE-AE3D567150AA}" destId="{C8EC9A1A-E130-45F0-9A83-E71252F03E45}" srcOrd="0" destOrd="0" presId="urn:microsoft.com/office/officeart/2008/layout/LinedList"/>
    <dgm:cxn modelId="{E35D9F52-6C6E-4B04-BAF5-50B4725AFF81}" type="presParOf" srcId="{286657A9-EA1E-4ABC-AACE-AE3D567150AA}" destId="{830B0CA6-0D4A-43F5-92C3-BAC18E0EABC2}" srcOrd="1" destOrd="0" presId="urn:microsoft.com/office/officeart/2008/layout/LinedList"/>
    <dgm:cxn modelId="{9B6487CF-1CF6-4AD3-920A-5ED4BD02794E}" type="presParOf" srcId="{608F3216-D455-480D-9682-031853E29D83}" destId="{1BC15048-492A-4F3A-859F-A94B25104786}" srcOrd="2" destOrd="0" presId="urn:microsoft.com/office/officeart/2008/layout/LinedList"/>
    <dgm:cxn modelId="{FEBF3C31-DFB1-4898-93B5-B59495B220E8}" type="presParOf" srcId="{608F3216-D455-480D-9682-031853E29D83}" destId="{D23D9AE7-B5C6-45B7-9D92-65A4130D44C5}" srcOrd="3" destOrd="0" presId="urn:microsoft.com/office/officeart/2008/layout/LinedList"/>
    <dgm:cxn modelId="{4018447A-11E2-4B0F-9F3E-7BD8E17423EE}" type="presParOf" srcId="{D23D9AE7-B5C6-45B7-9D92-65A4130D44C5}" destId="{02CD1BAF-9DD5-4AFA-A1D7-3487D0FA9113}" srcOrd="0" destOrd="0" presId="urn:microsoft.com/office/officeart/2008/layout/LinedList"/>
    <dgm:cxn modelId="{20E8073C-C5DA-483A-94BA-3C661A3F9E13}" type="presParOf" srcId="{D23D9AE7-B5C6-45B7-9D92-65A4130D44C5}" destId="{FD2FEB6E-27EA-4C48-9195-32D0D4CC9F07}" srcOrd="1" destOrd="0" presId="urn:microsoft.com/office/officeart/2008/layout/LinedList"/>
    <dgm:cxn modelId="{FE885ECC-E8BE-4D85-9892-6A502528FCB0}" type="presParOf" srcId="{608F3216-D455-480D-9682-031853E29D83}" destId="{0770318A-3C90-442C-9B02-728C49E10490}" srcOrd="4" destOrd="0" presId="urn:microsoft.com/office/officeart/2008/layout/LinedList"/>
    <dgm:cxn modelId="{FB325CC5-4BED-4B61-8172-FAEDAD32C73D}" type="presParOf" srcId="{608F3216-D455-480D-9682-031853E29D83}" destId="{D193FE10-7EE6-4302-A981-46919E06EF72}" srcOrd="5" destOrd="0" presId="urn:microsoft.com/office/officeart/2008/layout/LinedList"/>
    <dgm:cxn modelId="{A00D2A03-A58A-4A5E-93CA-082F2DADF7D1}" type="presParOf" srcId="{D193FE10-7EE6-4302-A981-46919E06EF72}" destId="{07F6C363-D0C6-42A2-9776-92552CA75045}" srcOrd="0" destOrd="0" presId="urn:microsoft.com/office/officeart/2008/layout/LinedList"/>
    <dgm:cxn modelId="{1659A7F7-C985-4948-A9CA-33101A50611A}" type="presParOf" srcId="{D193FE10-7EE6-4302-A981-46919E06EF72}" destId="{7F1E8F98-B6A9-4250-B515-BB85AE03C2BD}"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7368D0B-0430-4A91-94E1-D0097F6BB4FA}" type="doc">
      <dgm:prSet loTypeId="urn:microsoft.com/office/officeart/2005/8/layout/vList4" loCatId="list" qsTypeId="urn:microsoft.com/office/officeart/2005/8/quickstyle/simple1" qsCatId="simple" csTypeId="urn:microsoft.com/office/officeart/2005/8/colors/accent2_2" csCatId="accent2" phldr="1"/>
      <dgm:spPr/>
      <dgm:t>
        <a:bodyPr/>
        <a:lstStyle/>
        <a:p>
          <a:endParaRPr lang="en-US"/>
        </a:p>
      </dgm:t>
    </dgm:pt>
    <dgm:pt modelId="{77DF58F8-0D94-4B12-ADE9-2B5AFCEB4CE0}">
      <dgm:prSet custT="1"/>
      <dgm:spPr/>
      <dgm:t>
        <a:bodyPr/>
        <a:lstStyle/>
        <a:p>
          <a:pPr algn="l"/>
          <a:r>
            <a:rPr lang="en-US" sz="2400"/>
            <a:t>Handled with </a:t>
          </a:r>
          <a:r>
            <a:rPr lang="en-US" sz="2400" b="1"/>
            <a:t>Traps</a:t>
          </a:r>
          <a:r>
            <a:rPr lang="en-US" sz="2400"/>
            <a:t> or </a:t>
          </a:r>
          <a:r>
            <a:rPr lang="en-US" sz="2400" b="1"/>
            <a:t>Try/Catch/Finally</a:t>
          </a:r>
        </a:p>
      </dgm:t>
    </dgm:pt>
    <dgm:pt modelId="{28581263-B85D-4E82-9100-64C383DD29E6}" type="parTrans" cxnId="{3CE41112-9F45-4C16-B280-1FBFA42EE647}">
      <dgm:prSet/>
      <dgm:spPr/>
      <dgm:t>
        <a:bodyPr/>
        <a:lstStyle/>
        <a:p>
          <a:endParaRPr lang="en-US" sz="2400"/>
        </a:p>
      </dgm:t>
    </dgm:pt>
    <dgm:pt modelId="{340BC9A8-950D-415C-845B-11F9F6C1AF6E}" type="sibTrans" cxnId="{3CE41112-9F45-4C16-B280-1FBFA42EE647}">
      <dgm:prSet/>
      <dgm:spPr/>
      <dgm:t>
        <a:bodyPr/>
        <a:lstStyle/>
        <a:p>
          <a:endParaRPr lang="en-US" sz="2400"/>
        </a:p>
      </dgm:t>
    </dgm:pt>
    <dgm:pt modelId="{212C391B-C1F8-42A7-848A-79294863685E}">
      <dgm:prSet custT="1"/>
      <dgm:spPr/>
      <dgm:t>
        <a:bodyPr/>
        <a:lstStyle/>
        <a:p>
          <a:pPr algn="l"/>
          <a:r>
            <a:rPr lang="en-US" sz="2400">
              <a:latin typeface="Segoe UI" panose="020B0502040204020203" pitchFamily="34" charset="0"/>
              <a:cs typeface="Segoe UI Light"/>
            </a:rPr>
            <a:t>Created with </a:t>
          </a:r>
          <a:r>
            <a:rPr lang="en-US" sz="2400" b="1">
              <a:latin typeface="Segoe UI" panose="020B0502040204020203" pitchFamily="34" charset="0"/>
              <a:cs typeface="Segoe UI Light"/>
            </a:rPr>
            <a:t>throw </a:t>
          </a:r>
          <a:r>
            <a:rPr lang="en-US" sz="2400" b="0">
              <a:latin typeface="Segoe UI" panose="020B0502040204020203" pitchFamily="34" charset="0"/>
              <a:cs typeface="Segoe UI Light"/>
            </a:rPr>
            <a:t>keyword</a:t>
          </a:r>
          <a:endParaRPr lang="en-US" sz="2400">
            <a:latin typeface="Segoe UI" panose="020B0502040204020203" pitchFamily="34" charset="0"/>
            <a:cs typeface="Segoe UI Light"/>
          </a:endParaRPr>
        </a:p>
      </dgm:t>
    </dgm:pt>
    <dgm:pt modelId="{966FF3FE-24D6-4E76-BCDE-B3A840C14571}" type="parTrans" cxnId="{7D1711BD-7756-4424-B929-3A7A3C8A62D7}">
      <dgm:prSet/>
      <dgm:spPr/>
      <dgm:t>
        <a:bodyPr/>
        <a:lstStyle/>
        <a:p>
          <a:endParaRPr lang="en-US" sz="2400"/>
        </a:p>
      </dgm:t>
    </dgm:pt>
    <dgm:pt modelId="{B5E0595C-59B2-40C2-8F7B-FD6C3AEC1895}" type="sibTrans" cxnId="{7D1711BD-7756-4424-B929-3A7A3C8A62D7}">
      <dgm:prSet/>
      <dgm:spPr/>
      <dgm:t>
        <a:bodyPr/>
        <a:lstStyle/>
        <a:p>
          <a:endParaRPr lang="en-US" sz="2400"/>
        </a:p>
      </dgm:t>
    </dgm:pt>
    <dgm:pt modelId="{CF153771-28B4-46A2-88E9-3F070AA91B2C}">
      <dgm:prSet custT="1"/>
      <dgm:spPr/>
      <dgm:t>
        <a:bodyPr/>
        <a:lstStyle/>
        <a:p>
          <a:pPr algn="l"/>
          <a:r>
            <a:rPr lang="en-US" sz="2400">
              <a:latin typeface="Segoe UI" panose="020B0502040204020203" pitchFamily="34" charset="0"/>
              <a:cs typeface="Segoe UI Light"/>
            </a:rPr>
            <a:t>Captured by </a:t>
          </a:r>
          <a:r>
            <a:rPr lang="en-US" sz="2400" b="1">
              <a:latin typeface="Segoe UI" panose="020B0502040204020203" pitchFamily="34" charset="0"/>
              <a:cs typeface="Segoe UI Light"/>
            </a:rPr>
            <a:t>$Error</a:t>
          </a:r>
          <a:r>
            <a:rPr lang="en-US" sz="2400" b="0">
              <a:latin typeface="Segoe UI" panose="020B0502040204020203" pitchFamily="34" charset="0"/>
              <a:cs typeface="Segoe UI Light"/>
            </a:rPr>
            <a:t> if code is still running</a:t>
          </a:r>
          <a:endParaRPr lang="en-US" sz="2400">
            <a:latin typeface="Segoe UI" panose="020B0502040204020203" pitchFamily="34" charset="0"/>
            <a:cs typeface="Segoe UI Light"/>
          </a:endParaRPr>
        </a:p>
      </dgm:t>
    </dgm:pt>
    <dgm:pt modelId="{CCCA9203-ADA1-4627-8114-E9B241F8B09F}" type="parTrans" cxnId="{62048CFB-A848-4804-8852-638FE57730A3}">
      <dgm:prSet/>
      <dgm:spPr/>
      <dgm:t>
        <a:bodyPr/>
        <a:lstStyle/>
        <a:p>
          <a:endParaRPr lang="en-US" sz="2400"/>
        </a:p>
      </dgm:t>
    </dgm:pt>
    <dgm:pt modelId="{C1139EF6-F50B-4F3D-9C51-5868B97F2967}" type="sibTrans" cxnId="{62048CFB-A848-4804-8852-638FE57730A3}">
      <dgm:prSet/>
      <dgm:spPr/>
      <dgm:t>
        <a:bodyPr/>
        <a:lstStyle/>
        <a:p>
          <a:endParaRPr lang="en-US" sz="2400"/>
        </a:p>
      </dgm:t>
    </dgm:pt>
    <dgm:pt modelId="{017CA063-7EEA-489C-87A9-E2147DD0A5AD}">
      <dgm:prSet custT="1"/>
      <dgm:spPr/>
      <dgm:t>
        <a:bodyPr/>
        <a:lstStyle/>
        <a:p>
          <a:r>
            <a:rPr lang="en-US" sz="2400" b="1">
              <a:latin typeface="Segoe UI" panose="020B0502040204020203" pitchFamily="34" charset="0"/>
              <a:cs typeface="Segoe UI Light"/>
            </a:rPr>
            <a:t>Stops</a:t>
          </a:r>
          <a:r>
            <a:rPr lang="en-US" sz="2400">
              <a:latin typeface="Segoe UI" panose="020B0502040204020203" pitchFamily="34" charset="0"/>
              <a:cs typeface="Segoe UI Light"/>
            </a:rPr>
            <a:t> code execution </a:t>
          </a:r>
          <a:r>
            <a:rPr lang="en-US" sz="2400" i="1">
              <a:latin typeface="Segoe UI" panose="020B0502040204020203" pitchFamily="34" charset="0"/>
              <a:cs typeface="Segoe UI Light"/>
            </a:rPr>
            <a:t>(default)</a:t>
          </a:r>
          <a:endParaRPr lang="en-US" sz="2400"/>
        </a:p>
      </dgm:t>
    </dgm:pt>
    <dgm:pt modelId="{BD1C0346-86D3-4E46-82D3-0636A98D6820}" type="sibTrans" cxnId="{27388B70-3F24-45ED-AE22-CF9A1F9E0AC5}">
      <dgm:prSet/>
      <dgm:spPr/>
      <dgm:t>
        <a:bodyPr/>
        <a:lstStyle/>
        <a:p>
          <a:endParaRPr lang="en-US" sz="2400"/>
        </a:p>
      </dgm:t>
    </dgm:pt>
    <dgm:pt modelId="{E0B8EF2F-113F-4507-B8FC-3374D37646B0}" type="parTrans" cxnId="{27388B70-3F24-45ED-AE22-CF9A1F9E0AC5}">
      <dgm:prSet/>
      <dgm:spPr/>
      <dgm:t>
        <a:bodyPr/>
        <a:lstStyle/>
        <a:p>
          <a:endParaRPr lang="en-US" sz="2400"/>
        </a:p>
      </dgm:t>
    </dgm:pt>
    <dgm:pt modelId="{656312B6-D4DC-40CC-BA0E-DF84517DB85D}" type="pres">
      <dgm:prSet presAssocID="{47368D0B-0430-4A91-94E1-D0097F6BB4FA}" presName="linear" presStyleCnt="0">
        <dgm:presLayoutVars>
          <dgm:dir/>
          <dgm:resizeHandles val="exact"/>
        </dgm:presLayoutVars>
      </dgm:prSet>
      <dgm:spPr/>
    </dgm:pt>
    <dgm:pt modelId="{8903A701-EA0A-41D9-A825-85ABE9D0258D}" type="pres">
      <dgm:prSet presAssocID="{017CA063-7EEA-489C-87A9-E2147DD0A5AD}" presName="comp" presStyleCnt="0"/>
      <dgm:spPr/>
    </dgm:pt>
    <dgm:pt modelId="{912F3BD4-754B-4AFC-AE2F-BAE562A727F3}" type="pres">
      <dgm:prSet presAssocID="{017CA063-7EEA-489C-87A9-E2147DD0A5AD}" presName="box" presStyleLbl="node1" presStyleIdx="0" presStyleCnt="4"/>
      <dgm:spPr/>
    </dgm:pt>
    <dgm:pt modelId="{B006EEA4-D762-4A96-9E5B-0C903CDEBADF}" type="pres">
      <dgm:prSet presAssocID="{017CA063-7EEA-489C-87A9-E2147DD0A5AD}" presName="img" presStyleLbl="fgImgPlace1" presStyleIdx="0" presStyleCnt="4"/>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25975" r="25975"/>
          </a:stretch>
        </a:blipFill>
        <a:ln>
          <a:noFill/>
        </a:ln>
      </dgm:spPr>
      <dgm:extLst>
        <a:ext uri="{E40237B7-FDA0-4F09-8148-C483321AD2D9}">
          <dgm14:cNvPr xmlns:dgm14="http://schemas.microsoft.com/office/drawing/2010/diagram" id="0" name="" descr="Stop with solid fill"/>
        </a:ext>
      </dgm:extLst>
    </dgm:pt>
    <dgm:pt modelId="{E1C5AC10-A9F2-44E7-A15D-54491CD59286}" type="pres">
      <dgm:prSet presAssocID="{017CA063-7EEA-489C-87A9-E2147DD0A5AD}" presName="text" presStyleLbl="node1" presStyleIdx="0" presStyleCnt="4">
        <dgm:presLayoutVars>
          <dgm:bulletEnabled val="1"/>
        </dgm:presLayoutVars>
      </dgm:prSet>
      <dgm:spPr/>
    </dgm:pt>
    <dgm:pt modelId="{A651AFD1-7644-444E-98E1-EDAEF4B980B0}" type="pres">
      <dgm:prSet presAssocID="{BD1C0346-86D3-4E46-82D3-0636A98D6820}" presName="spacer" presStyleCnt="0"/>
      <dgm:spPr/>
    </dgm:pt>
    <dgm:pt modelId="{D73A8B19-D7BC-4D8A-9375-E9DF851C1945}" type="pres">
      <dgm:prSet presAssocID="{212C391B-C1F8-42A7-848A-79294863685E}" presName="comp" presStyleCnt="0"/>
      <dgm:spPr/>
    </dgm:pt>
    <dgm:pt modelId="{65DFEBCD-D07D-4CAC-9EF6-31708FBF36CB}" type="pres">
      <dgm:prSet presAssocID="{212C391B-C1F8-42A7-848A-79294863685E}" presName="box" presStyleLbl="node1" presStyleIdx="1" presStyleCnt="4"/>
      <dgm:spPr/>
    </dgm:pt>
    <dgm:pt modelId="{C57DA33D-54A4-4722-A459-3A2F41A1E1B6}" type="pres">
      <dgm:prSet presAssocID="{212C391B-C1F8-42A7-848A-79294863685E}" presName="img" presStyleLbl="fgImgPlace1" presStyleIdx="1" presStyleCnt="4"/>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25975" r="25975"/>
          </a:stretch>
        </a:blipFill>
        <a:ln>
          <a:noFill/>
        </a:ln>
      </dgm:spPr>
      <dgm:extLst>
        <a:ext uri="{E40237B7-FDA0-4F09-8148-C483321AD2D9}">
          <dgm14:cNvPr xmlns:dgm14="http://schemas.microsoft.com/office/drawing/2010/diagram" id="0" name="" descr="Building Brick Wall with solid fill"/>
        </a:ext>
      </dgm:extLst>
    </dgm:pt>
    <dgm:pt modelId="{E2050E66-D979-47B9-9551-4A0481DDE864}" type="pres">
      <dgm:prSet presAssocID="{212C391B-C1F8-42A7-848A-79294863685E}" presName="text" presStyleLbl="node1" presStyleIdx="1" presStyleCnt="4">
        <dgm:presLayoutVars>
          <dgm:bulletEnabled val="1"/>
        </dgm:presLayoutVars>
      </dgm:prSet>
      <dgm:spPr/>
    </dgm:pt>
    <dgm:pt modelId="{2A27087E-D78D-4D47-AE45-DA79BE65D2A8}" type="pres">
      <dgm:prSet presAssocID="{B5E0595C-59B2-40C2-8F7B-FD6C3AEC1895}" presName="spacer" presStyleCnt="0"/>
      <dgm:spPr/>
    </dgm:pt>
    <dgm:pt modelId="{BBAA7522-5222-4C30-8324-8B8808D13761}" type="pres">
      <dgm:prSet presAssocID="{CF153771-28B4-46A2-88E9-3F070AA91B2C}" presName="comp" presStyleCnt="0"/>
      <dgm:spPr/>
    </dgm:pt>
    <dgm:pt modelId="{EFB575CE-5A45-4DEB-BD6E-4B78E8091C14}" type="pres">
      <dgm:prSet presAssocID="{CF153771-28B4-46A2-88E9-3F070AA91B2C}" presName="box" presStyleLbl="node1" presStyleIdx="2" presStyleCnt="4"/>
      <dgm:spPr/>
    </dgm:pt>
    <dgm:pt modelId="{79B93C29-30C6-473F-8F96-04E782F61AE8}" type="pres">
      <dgm:prSet presAssocID="{CF153771-28B4-46A2-88E9-3F070AA91B2C}" presName="img" presStyleLbl="fgImgPlace1" presStyleIdx="2" presStyleCnt="4"/>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975" r="25975"/>
          </a:stretch>
        </a:blipFill>
        <a:ln>
          <a:noFill/>
        </a:ln>
      </dgm:spPr>
      <dgm:extLst>
        <a:ext uri="{E40237B7-FDA0-4F09-8148-C483321AD2D9}">
          <dgm14:cNvPr xmlns:dgm14="http://schemas.microsoft.com/office/drawing/2010/diagram" id="0" name="" descr="Packing Box Open with solid fill"/>
        </a:ext>
      </dgm:extLst>
    </dgm:pt>
    <dgm:pt modelId="{68C20679-0615-4A24-AF23-335BB6F7F1A9}" type="pres">
      <dgm:prSet presAssocID="{CF153771-28B4-46A2-88E9-3F070AA91B2C}" presName="text" presStyleLbl="node1" presStyleIdx="2" presStyleCnt="4">
        <dgm:presLayoutVars>
          <dgm:bulletEnabled val="1"/>
        </dgm:presLayoutVars>
      </dgm:prSet>
      <dgm:spPr/>
    </dgm:pt>
    <dgm:pt modelId="{73732925-B828-4559-968E-55D2421BBD0C}" type="pres">
      <dgm:prSet presAssocID="{C1139EF6-F50B-4F3D-9C51-5868B97F2967}" presName="spacer" presStyleCnt="0"/>
      <dgm:spPr/>
    </dgm:pt>
    <dgm:pt modelId="{47B7B276-8FEC-4E48-BD0A-99517735AAED}" type="pres">
      <dgm:prSet presAssocID="{77DF58F8-0D94-4B12-ADE9-2B5AFCEB4CE0}" presName="comp" presStyleCnt="0"/>
      <dgm:spPr/>
    </dgm:pt>
    <dgm:pt modelId="{F33AD1B1-0185-4816-B078-FD88BF57A7FA}" type="pres">
      <dgm:prSet presAssocID="{77DF58F8-0D94-4B12-ADE9-2B5AFCEB4CE0}" presName="box" presStyleLbl="node1" presStyleIdx="3" presStyleCnt="4"/>
      <dgm:spPr/>
    </dgm:pt>
    <dgm:pt modelId="{515E81DD-CC70-4443-AF68-29AB4026182D}" type="pres">
      <dgm:prSet presAssocID="{77DF58F8-0D94-4B12-ADE9-2B5AFCEB4CE0}" presName="img" presStyleLbl="fgImgPlace1" presStyleIdx="3" presStyleCnt="4"/>
      <dgm:spPr>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25975" r="25975"/>
          </a:stretch>
        </a:blipFill>
        <a:ln>
          <a:noFill/>
        </a:ln>
      </dgm:spPr>
      <dgm:extLst>
        <a:ext uri="{E40237B7-FDA0-4F09-8148-C483321AD2D9}">
          <dgm14:cNvPr xmlns:dgm14="http://schemas.microsoft.com/office/drawing/2010/diagram" id="0" name="" descr="Hierarchy with solid fill"/>
        </a:ext>
      </dgm:extLst>
    </dgm:pt>
    <dgm:pt modelId="{E17DB4AB-CA2B-485C-8CFC-9B5A6263D57F}" type="pres">
      <dgm:prSet presAssocID="{77DF58F8-0D94-4B12-ADE9-2B5AFCEB4CE0}" presName="text" presStyleLbl="node1" presStyleIdx="3" presStyleCnt="4">
        <dgm:presLayoutVars>
          <dgm:bulletEnabled val="1"/>
        </dgm:presLayoutVars>
      </dgm:prSet>
      <dgm:spPr/>
    </dgm:pt>
  </dgm:ptLst>
  <dgm:cxnLst>
    <dgm:cxn modelId="{3CE41112-9F45-4C16-B280-1FBFA42EE647}" srcId="{47368D0B-0430-4A91-94E1-D0097F6BB4FA}" destId="{77DF58F8-0D94-4B12-ADE9-2B5AFCEB4CE0}" srcOrd="3" destOrd="0" parTransId="{28581263-B85D-4E82-9100-64C383DD29E6}" sibTransId="{340BC9A8-950D-415C-845B-11F9F6C1AF6E}"/>
    <dgm:cxn modelId="{88E9704E-8FA9-459A-BCD7-EF721725EC50}" type="presOf" srcId="{212C391B-C1F8-42A7-848A-79294863685E}" destId="{65DFEBCD-D07D-4CAC-9EF6-31708FBF36CB}" srcOrd="0" destOrd="0" presId="urn:microsoft.com/office/officeart/2005/8/layout/vList4"/>
    <dgm:cxn modelId="{27388B70-3F24-45ED-AE22-CF9A1F9E0AC5}" srcId="{47368D0B-0430-4A91-94E1-D0097F6BB4FA}" destId="{017CA063-7EEA-489C-87A9-E2147DD0A5AD}" srcOrd="0" destOrd="0" parTransId="{E0B8EF2F-113F-4507-B8FC-3374D37646B0}" sibTransId="{BD1C0346-86D3-4E46-82D3-0636A98D6820}"/>
    <dgm:cxn modelId="{4C59BB53-E6DE-4EBB-A076-63812ECF5EB4}" type="presOf" srcId="{CF153771-28B4-46A2-88E9-3F070AA91B2C}" destId="{68C20679-0615-4A24-AF23-335BB6F7F1A9}" srcOrd="1" destOrd="0" presId="urn:microsoft.com/office/officeart/2005/8/layout/vList4"/>
    <dgm:cxn modelId="{FD932C76-5DF8-42E4-8A86-3322AB496EA2}" type="presOf" srcId="{212C391B-C1F8-42A7-848A-79294863685E}" destId="{E2050E66-D979-47B9-9551-4A0481DDE864}" srcOrd="1" destOrd="0" presId="urn:microsoft.com/office/officeart/2005/8/layout/vList4"/>
    <dgm:cxn modelId="{34140C8E-0DDA-4CC7-8577-760A7A0D9699}" type="presOf" srcId="{017CA063-7EEA-489C-87A9-E2147DD0A5AD}" destId="{E1C5AC10-A9F2-44E7-A15D-54491CD59286}" srcOrd="1" destOrd="0" presId="urn:microsoft.com/office/officeart/2005/8/layout/vList4"/>
    <dgm:cxn modelId="{1EE9F494-8016-48F3-B65F-C76CA6882FDF}" type="presOf" srcId="{017CA063-7EEA-489C-87A9-E2147DD0A5AD}" destId="{912F3BD4-754B-4AFC-AE2F-BAE562A727F3}" srcOrd="0" destOrd="0" presId="urn:microsoft.com/office/officeart/2005/8/layout/vList4"/>
    <dgm:cxn modelId="{7D1711BD-7756-4424-B929-3A7A3C8A62D7}" srcId="{47368D0B-0430-4A91-94E1-D0097F6BB4FA}" destId="{212C391B-C1F8-42A7-848A-79294863685E}" srcOrd="1" destOrd="0" parTransId="{966FF3FE-24D6-4E76-BCDE-B3A840C14571}" sibTransId="{B5E0595C-59B2-40C2-8F7B-FD6C3AEC1895}"/>
    <dgm:cxn modelId="{26F384D1-716B-4138-B383-CF7AF4502BB6}" type="presOf" srcId="{77DF58F8-0D94-4B12-ADE9-2B5AFCEB4CE0}" destId="{F33AD1B1-0185-4816-B078-FD88BF57A7FA}" srcOrd="0" destOrd="0" presId="urn:microsoft.com/office/officeart/2005/8/layout/vList4"/>
    <dgm:cxn modelId="{EA81A2D9-87FC-4B06-94C6-7026BBDF0C1D}" type="presOf" srcId="{47368D0B-0430-4A91-94E1-D0097F6BB4FA}" destId="{656312B6-D4DC-40CC-BA0E-DF84517DB85D}" srcOrd="0" destOrd="0" presId="urn:microsoft.com/office/officeart/2005/8/layout/vList4"/>
    <dgm:cxn modelId="{150A3DDD-3876-421A-B869-D41C7582D37F}" type="presOf" srcId="{CF153771-28B4-46A2-88E9-3F070AA91B2C}" destId="{EFB575CE-5A45-4DEB-BD6E-4B78E8091C14}" srcOrd="0" destOrd="0" presId="urn:microsoft.com/office/officeart/2005/8/layout/vList4"/>
    <dgm:cxn modelId="{8F0E75F0-B72B-4C94-81D3-7EF1E95543B8}" type="presOf" srcId="{77DF58F8-0D94-4B12-ADE9-2B5AFCEB4CE0}" destId="{E17DB4AB-CA2B-485C-8CFC-9B5A6263D57F}" srcOrd="1" destOrd="0" presId="urn:microsoft.com/office/officeart/2005/8/layout/vList4"/>
    <dgm:cxn modelId="{62048CFB-A848-4804-8852-638FE57730A3}" srcId="{47368D0B-0430-4A91-94E1-D0097F6BB4FA}" destId="{CF153771-28B4-46A2-88E9-3F070AA91B2C}" srcOrd="2" destOrd="0" parTransId="{CCCA9203-ADA1-4627-8114-E9B241F8B09F}" sibTransId="{C1139EF6-F50B-4F3D-9C51-5868B97F2967}"/>
    <dgm:cxn modelId="{A59EAEE5-32E1-41DD-9F37-1AC3FA62CF16}" type="presParOf" srcId="{656312B6-D4DC-40CC-BA0E-DF84517DB85D}" destId="{8903A701-EA0A-41D9-A825-85ABE9D0258D}" srcOrd="0" destOrd="0" presId="urn:microsoft.com/office/officeart/2005/8/layout/vList4"/>
    <dgm:cxn modelId="{352A9548-3E37-4B20-98EE-21C2380E4FB1}" type="presParOf" srcId="{8903A701-EA0A-41D9-A825-85ABE9D0258D}" destId="{912F3BD4-754B-4AFC-AE2F-BAE562A727F3}" srcOrd="0" destOrd="0" presId="urn:microsoft.com/office/officeart/2005/8/layout/vList4"/>
    <dgm:cxn modelId="{0634BE5C-4276-4A01-B166-A49F78DF9291}" type="presParOf" srcId="{8903A701-EA0A-41D9-A825-85ABE9D0258D}" destId="{B006EEA4-D762-4A96-9E5B-0C903CDEBADF}" srcOrd="1" destOrd="0" presId="urn:microsoft.com/office/officeart/2005/8/layout/vList4"/>
    <dgm:cxn modelId="{AF2C881D-DA0E-4FA5-B39C-BFEEAA9D87BA}" type="presParOf" srcId="{8903A701-EA0A-41D9-A825-85ABE9D0258D}" destId="{E1C5AC10-A9F2-44E7-A15D-54491CD59286}" srcOrd="2" destOrd="0" presId="urn:microsoft.com/office/officeart/2005/8/layout/vList4"/>
    <dgm:cxn modelId="{C1D84276-EAC4-4CA2-A474-081E2E12A8BA}" type="presParOf" srcId="{656312B6-D4DC-40CC-BA0E-DF84517DB85D}" destId="{A651AFD1-7644-444E-98E1-EDAEF4B980B0}" srcOrd="1" destOrd="0" presId="urn:microsoft.com/office/officeart/2005/8/layout/vList4"/>
    <dgm:cxn modelId="{3AC22BAA-D3F6-473E-88CE-1E1C89D9D1F9}" type="presParOf" srcId="{656312B6-D4DC-40CC-BA0E-DF84517DB85D}" destId="{D73A8B19-D7BC-4D8A-9375-E9DF851C1945}" srcOrd="2" destOrd="0" presId="urn:microsoft.com/office/officeart/2005/8/layout/vList4"/>
    <dgm:cxn modelId="{7497C1CF-6EBA-4AF8-A3D3-966DC8C8D99E}" type="presParOf" srcId="{D73A8B19-D7BC-4D8A-9375-E9DF851C1945}" destId="{65DFEBCD-D07D-4CAC-9EF6-31708FBF36CB}" srcOrd="0" destOrd="0" presId="urn:microsoft.com/office/officeart/2005/8/layout/vList4"/>
    <dgm:cxn modelId="{0BAB3610-CCF5-42CC-AEA5-656F27BD44C8}" type="presParOf" srcId="{D73A8B19-D7BC-4D8A-9375-E9DF851C1945}" destId="{C57DA33D-54A4-4722-A459-3A2F41A1E1B6}" srcOrd="1" destOrd="0" presId="urn:microsoft.com/office/officeart/2005/8/layout/vList4"/>
    <dgm:cxn modelId="{649D87FE-A122-417F-9A27-7D08226642C8}" type="presParOf" srcId="{D73A8B19-D7BC-4D8A-9375-E9DF851C1945}" destId="{E2050E66-D979-47B9-9551-4A0481DDE864}" srcOrd="2" destOrd="0" presId="urn:microsoft.com/office/officeart/2005/8/layout/vList4"/>
    <dgm:cxn modelId="{969D2872-4FCA-4187-8187-A6D55E6BF97D}" type="presParOf" srcId="{656312B6-D4DC-40CC-BA0E-DF84517DB85D}" destId="{2A27087E-D78D-4D47-AE45-DA79BE65D2A8}" srcOrd="3" destOrd="0" presId="urn:microsoft.com/office/officeart/2005/8/layout/vList4"/>
    <dgm:cxn modelId="{2F142EFF-EC64-465D-B809-4C05068E3C93}" type="presParOf" srcId="{656312B6-D4DC-40CC-BA0E-DF84517DB85D}" destId="{BBAA7522-5222-4C30-8324-8B8808D13761}" srcOrd="4" destOrd="0" presId="urn:microsoft.com/office/officeart/2005/8/layout/vList4"/>
    <dgm:cxn modelId="{02D8E745-2DFD-47D2-8EE5-13623E6C130B}" type="presParOf" srcId="{BBAA7522-5222-4C30-8324-8B8808D13761}" destId="{EFB575CE-5A45-4DEB-BD6E-4B78E8091C14}" srcOrd="0" destOrd="0" presId="urn:microsoft.com/office/officeart/2005/8/layout/vList4"/>
    <dgm:cxn modelId="{CC756A07-0847-4209-9FDD-7D78C300CF91}" type="presParOf" srcId="{BBAA7522-5222-4C30-8324-8B8808D13761}" destId="{79B93C29-30C6-473F-8F96-04E782F61AE8}" srcOrd="1" destOrd="0" presId="urn:microsoft.com/office/officeart/2005/8/layout/vList4"/>
    <dgm:cxn modelId="{D536A767-5FA5-4067-9D14-ACB7C977C63A}" type="presParOf" srcId="{BBAA7522-5222-4C30-8324-8B8808D13761}" destId="{68C20679-0615-4A24-AF23-335BB6F7F1A9}" srcOrd="2" destOrd="0" presId="urn:microsoft.com/office/officeart/2005/8/layout/vList4"/>
    <dgm:cxn modelId="{B2924F0B-9390-4702-97BE-982F5EBC4367}" type="presParOf" srcId="{656312B6-D4DC-40CC-BA0E-DF84517DB85D}" destId="{73732925-B828-4559-968E-55D2421BBD0C}" srcOrd="5" destOrd="0" presId="urn:microsoft.com/office/officeart/2005/8/layout/vList4"/>
    <dgm:cxn modelId="{195BB755-719B-43CE-BCFA-649CE040266D}" type="presParOf" srcId="{656312B6-D4DC-40CC-BA0E-DF84517DB85D}" destId="{47B7B276-8FEC-4E48-BD0A-99517735AAED}" srcOrd="6" destOrd="0" presId="urn:microsoft.com/office/officeart/2005/8/layout/vList4"/>
    <dgm:cxn modelId="{3C5555D4-145C-44DE-BD56-880875BA511F}" type="presParOf" srcId="{47B7B276-8FEC-4E48-BD0A-99517735AAED}" destId="{F33AD1B1-0185-4816-B078-FD88BF57A7FA}" srcOrd="0" destOrd="0" presId="urn:microsoft.com/office/officeart/2005/8/layout/vList4"/>
    <dgm:cxn modelId="{296D7379-921F-4787-A0C3-E8FDD3694B7D}" type="presParOf" srcId="{47B7B276-8FEC-4E48-BD0A-99517735AAED}" destId="{515E81DD-CC70-4443-AF68-29AB4026182D}" srcOrd="1" destOrd="0" presId="urn:microsoft.com/office/officeart/2005/8/layout/vList4"/>
    <dgm:cxn modelId="{754E272B-9E17-474B-8F3C-67DEB2C8CEA6}" type="presParOf" srcId="{47B7B276-8FEC-4E48-BD0A-99517735AAED}" destId="{E17DB4AB-CA2B-485C-8CFC-9B5A6263D57F}"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1C6BB5-A261-450A-867B-54E8B264AFF2}"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3C6A301C-E38F-4362-9DC5-CA50D64F1AD9}">
      <dgm:prSet/>
      <dgm:spPr/>
      <dgm:t>
        <a:bodyPr/>
        <a:lstStyle/>
        <a:p>
          <a:r>
            <a:rPr lang="en-US"/>
            <a:t>Red </a:t>
          </a:r>
          <a:r>
            <a:rPr lang="en-US" b="1"/>
            <a:t>error messages </a:t>
          </a:r>
          <a:r>
            <a:rPr lang="en-US"/>
            <a:t>are displayed </a:t>
          </a:r>
          <a:r>
            <a:rPr lang="en-US" i="1"/>
            <a:t>(default)</a:t>
          </a:r>
          <a:endParaRPr lang="en-US"/>
        </a:p>
      </dgm:t>
    </dgm:pt>
    <dgm:pt modelId="{7EB479B4-0394-4070-B6C0-0C5BDFE5EEA6}" type="parTrans" cxnId="{D62DA626-BED4-4B64-86AE-7F620B9D86FE}">
      <dgm:prSet/>
      <dgm:spPr/>
      <dgm:t>
        <a:bodyPr/>
        <a:lstStyle/>
        <a:p>
          <a:endParaRPr lang="en-US"/>
        </a:p>
      </dgm:t>
    </dgm:pt>
    <dgm:pt modelId="{6129C2CA-C184-42D2-A4AC-30060EBE58BA}" type="sibTrans" cxnId="{D62DA626-BED4-4B64-86AE-7F620B9D86FE}">
      <dgm:prSet/>
      <dgm:spPr/>
      <dgm:t>
        <a:bodyPr/>
        <a:lstStyle/>
        <a:p>
          <a:endParaRPr lang="en-US"/>
        </a:p>
      </dgm:t>
    </dgm:pt>
    <dgm:pt modelId="{1DB8B56E-6B53-4662-8936-E923FDA4C9B9}">
      <dgm:prSet/>
      <dgm:spPr/>
      <dgm:t>
        <a:bodyPr/>
        <a:lstStyle/>
        <a:p>
          <a:r>
            <a:rPr lang="en-US"/>
            <a:t>Results could be </a:t>
          </a:r>
          <a:r>
            <a:rPr lang="en-US" b="1"/>
            <a:t>unpredictable</a:t>
          </a:r>
        </a:p>
      </dgm:t>
    </dgm:pt>
    <dgm:pt modelId="{6D9F705C-3ACD-44E4-B32A-922A8280B92E}" type="parTrans" cxnId="{540478E3-F164-4C7A-B200-FDB275915FE7}">
      <dgm:prSet/>
      <dgm:spPr/>
      <dgm:t>
        <a:bodyPr/>
        <a:lstStyle/>
        <a:p>
          <a:endParaRPr lang="en-US"/>
        </a:p>
      </dgm:t>
    </dgm:pt>
    <dgm:pt modelId="{1455D011-077F-45DA-9BD5-4AB0649EBDF3}" type="sibTrans" cxnId="{540478E3-F164-4C7A-B200-FDB275915FE7}">
      <dgm:prSet/>
      <dgm:spPr/>
      <dgm:t>
        <a:bodyPr/>
        <a:lstStyle/>
        <a:p>
          <a:endParaRPr lang="en-US"/>
        </a:p>
      </dgm:t>
    </dgm:pt>
    <dgm:pt modelId="{E842D420-ED7F-4658-8391-17938723D533}">
      <dgm:prSet/>
      <dgm:spPr/>
      <dgm:t>
        <a:bodyPr/>
        <a:lstStyle/>
        <a:p>
          <a:endParaRPr lang="en-US"/>
        </a:p>
      </dgm:t>
    </dgm:pt>
    <dgm:pt modelId="{60E46871-4374-4CB4-B188-243C7E2FF741}" type="parTrans" cxnId="{BEF8B5A6-3F57-4852-9347-DC1085B99F97}">
      <dgm:prSet/>
      <dgm:spPr/>
      <dgm:t>
        <a:bodyPr/>
        <a:lstStyle/>
        <a:p>
          <a:endParaRPr lang="en-US"/>
        </a:p>
      </dgm:t>
    </dgm:pt>
    <dgm:pt modelId="{6F3D9FC2-EB4F-4A66-B4C3-C8232E430DF0}" type="sibTrans" cxnId="{BEF8B5A6-3F57-4852-9347-DC1085B99F97}">
      <dgm:prSet/>
      <dgm:spPr/>
      <dgm:t>
        <a:bodyPr/>
        <a:lstStyle/>
        <a:p>
          <a:endParaRPr lang="en-US"/>
        </a:p>
      </dgm:t>
    </dgm:pt>
    <dgm:pt modelId="{D185A547-8F86-4583-8B6B-82FCA61DDA65}" type="pres">
      <dgm:prSet presAssocID="{FB1C6BB5-A261-450A-867B-54E8B264AFF2}" presName="vert0" presStyleCnt="0">
        <dgm:presLayoutVars>
          <dgm:dir/>
          <dgm:animOne val="branch"/>
          <dgm:animLvl val="lvl"/>
        </dgm:presLayoutVars>
      </dgm:prSet>
      <dgm:spPr/>
    </dgm:pt>
    <dgm:pt modelId="{CC1260EC-A84A-4A73-8B45-51E37FA62D47}" type="pres">
      <dgm:prSet presAssocID="{3C6A301C-E38F-4362-9DC5-CA50D64F1AD9}" presName="thickLine" presStyleLbl="alignNode1" presStyleIdx="0" presStyleCnt="3"/>
      <dgm:spPr/>
    </dgm:pt>
    <dgm:pt modelId="{4AE4799B-F427-46F9-AF84-BB5749CBB5B5}" type="pres">
      <dgm:prSet presAssocID="{3C6A301C-E38F-4362-9DC5-CA50D64F1AD9}" presName="horz1" presStyleCnt="0"/>
      <dgm:spPr/>
    </dgm:pt>
    <dgm:pt modelId="{6F433651-55F8-4DBD-8366-0D2115086A8F}" type="pres">
      <dgm:prSet presAssocID="{3C6A301C-E38F-4362-9DC5-CA50D64F1AD9}" presName="tx1" presStyleLbl="revTx" presStyleIdx="0" presStyleCnt="3"/>
      <dgm:spPr/>
    </dgm:pt>
    <dgm:pt modelId="{93940CE1-ABD6-4990-81D9-CA25252B3668}" type="pres">
      <dgm:prSet presAssocID="{3C6A301C-E38F-4362-9DC5-CA50D64F1AD9}" presName="vert1" presStyleCnt="0"/>
      <dgm:spPr/>
    </dgm:pt>
    <dgm:pt modelId="{0ED334F6-D60B-455D-B24D-F37565B398CD}" type="pres">
      <dgm:prSet presAssocID="{1DB8B56E-6B53-4662-8936-E923FDA4C9B9}" presName="thickLine" presStyleLbl="alignNode1" presStyleIdx="1" presStyleCnt="3"/>
      <dgm:spPr/>
    </dgm:pt>
    <dgm:pt modelId="{23F9E16B-1029-40F1-8531-D6C8F2B37D67}" type="pres">
      <dgm:prSet presAssocID="{1DB8B56E-6B53-4662-8936-E923FDA4C9B9}" presName="horz1" presStyleCnt="0"/>
      <dgm:spPr/>
    </dgm:pt>
    <dgm:pt modelId="{65BCFCFC-D8EE-466F-97E9-208585BAE6B6}" type="pres">
      <dgm:prSet presAssocID="{1DB8B56E-6B53-4662-8936-E923FDA4C9B9}" presName="tx1" presStyleLbl="revTx" presStyleIdx="1" presStyleCnt="3"/>
      <dgm:spPr/>
    </dgm:pt>
    <dgm:pt modelId="{398E3312-3E25-4DD3-82D7-28BAF29D69A2}" type="pres">
      <dgm:prSet presAssocID="{1DB8B56E-6B53-4662-8936-E923FDA4C9B9}" presName="vert1" presStyleCnt="0"/>
      <dgm:spPr/>
    </dgm:pt>
    <dgm:pt modelId="{FA946C11-11D9-4BD6-9BEE-EFB81F37ABED}" type="pres">
      <dgm:prSet presAssocID="{E842D420-ED7F-4658-8391-17938723D533}" presName="thickLine" presStyleLbl="alignNode1" presStyleIdx="2" presStyleCnt="3"/>
      <dgm:spPr/>
    </dgm:pt>
    <dgm:pt modelId="{B1E32CB6-41BA-45D6-98DA-E26FF42C6A77}" type="pres">
      <dgm:prSet presAssocID="{E842D420-ED7F-4658-8391-17938723D533}" presName="horz1" presStyleCnt="0"/>
      <dgm:spPr/>
    </dgm:pt>
    <dgm:pt modelId="{36C27154-B31B-4EE3-9B73-269020324A12}" type="pres">
      <dgm:prSet presAssocID="{E842D420-ED7F-4658-8391-17938723D533}" presName="tx1" presStyleLbl="revTx" presStyleIdx="2" presStyleCnt="3"/>
      <dgm:spPr/>
    </dgm:pt>
    <dgm:pt modelId="{CB79B82D-5B18-4C0C-AC07-163739C1700D}" type="pres">
      <dgm:prSet presAssocID="{E842D420-ED7F-4658-8391-17938723D533}" presName="vert1" presStyleCnt="0"/>
      <dgm:spPr/>
    </dgm:pt>
  </dgm:ptLst>
  <dgm:cxnLst>
    <dgm:cxn modelId="{D3ED0001-1162-49D3-AE05-A2A92B2316FF}" type="presOf" srcId="{FB1C6BB5-A261-450A-867B-54E8B264AFF2}" destId="{D185A547-8F86-4583-8B6B-82FCA61DDA65}" srcOrd="0" destOrd="0" presId="urn:microsoft.com/office/officeart/2008/layout/LinedList"/>
    <dgm:cxn modelId="{73B1FC04-7DA2-4622-8CEC-60FC7F9737E2}" type="presOf" srcId="{1DB8B56E-6B53-4662-8936-E923FDA4C9B9}" destId="{65BCFCFC-D8EE-466F-97E9-208585BAE6B6}" srcOrd="0" destOrd="0" presId="urn:microsoft.com/office/officeart/2008/layout/LinedList"/>
    <dgm:cxn modelId="{D62DA626-BED4-4B64-86AE-7F620B9D86FE}" srcId="{FB1C6BB5-A261-450A-867B-54E8B264AFF2}" destId="{3C6A301C-E38F-4362-9DC5-CA50D64F1AD9}" srcOrd="0" destOrd="0" parTransId="{7EB479B4-0394-4070-B6C0-0C5BDFE5EEA6}" sibTransId="{6129C2CA-C184-42D2-A4AC-30060EBE58BA}"/>
    <dgm:cxn modelId="{B3500B35-AE2C-4BDB-8349-E55957C348C9}" type="presOf" srcId="{E842D420-ED7F-4658-8391-17938723D533}" destId="{36C27154-B31B-4EE3-9B73-269020324A12}" srcOrd="0" destOrd="0" presId="urn:microsoft.com/office/officeart/2008/layout/LinedList"/>
    <dgm:cxn modelId="{BEF8B5A6-3F57-4852-9347-DC1085B99F97}" srcId="{FB1C6BB5-A261-450A-867B-54E8B264AFF2}" destId="{E842D420-ED7F-4658-8391-17938723D533}" srcOrd="2" destOrd="0" parTransId="{60E46871-4374-4CB4-B188-243C7E2FF741}" sibTransId="{6F3D9FC2-EB4F-4A66-B4C3-C8232E430DF0}"/>
    <dgm:cxn modelId="{540478E3-F164-4C7A-B200-FDB275915FE7}" srcId="{FB1C6BB5-A261-450A-867B-54E8B264AFF2}" destId="{1DB8B56E-6B53-4662-8936-E923FDA4C9B9}" srcOrd="1" destOrd="0" parTransId="{6D9F705C-3ACD-44E4-B32A-922A8280B92E}" sibTransId="{1455D011-077F-45DA-9BD5-4AB0649EBDF3}"/>
    <dgm:cxn modelId="{E5DD8FFB-93CB-4D5E-99F3-C09964E96C0E}" type="presOf" srcId="{3C6A301C-E38F-4362-9DC5-CA50D64F1AD9}" destId="{6F433651-55F8-4DBD-8366-0D2115086A8F}" srcOrd="0" destOrd="0" presId="urn:microsoft.com/office/officeart/2008/layout/LinedList"/>
    <dgm:cxn modelId="{9D2AE48C-7288-4E3E-91BA-FB2F3EB89189}" type="presParOf" srcId="{D185A547-8F86-4583-8B6B-82FCA61DDA65}" destId="{CC1260EC-A84A-4A73-8B45-51E37FA62D47}" srcOrd="0" destOrd="0" presId="urn:microsoft.com/office/officeart/2008/layout/LinedList"/>
    <dgm:cxn modelId="{85AECA90-1552-4AB7-BD95-E2D3393386E8}" type="presParOf" srcId="{D185A547-8F86-4583-8B6B-82FCA61DDA65}" destId="{4AE4799B-F427-46F9-AF84-BB5749CBB5B5}" srcOrd="1" destOrd="0" presId="urn:microsoft.com/office/officeart/2008/layout/LinedList"/>
    <dgm:cxn modelId="{57ED5CC5-0F4A-4A40-8B56-C5A8960DB97E}" type="presParOf" srcId="{4AE4799B-F427-46F9-AF84-BB5749CBB5B5}" destId="{6F433651-55F8-4DBD-8366-0D2115086A8F}" srcOrd="0" destOrd="0" presId="urn:microsoft.com/office/officeart/2008/layout/LinedList"/>
    <dgm:cxn modelId="{D38CD9CB-35F0-4327-8E69-9146029581E0}" type="presParOf" srcId="{4AE4799B-F427-46F9-AF84-BB5749CBB5B5}" destId="{93940CE1-ABD6-4990-81D9-CA25252B3668}" srcOrd="1" destOrd="0" presId="urn:microsoft.com/office/officeart/2008/layout/LinedList"/>
    <dgm:cxn modelId="{3D628336-F5E9-4ECF-A8B2-4D31E09BC48F}" type="presParOf" srcId="{D185A547-8F86-4583-8B6B-82FCA61DDA65}" destId="{0ED334F6-D60B-455D-B24D-F37565B398CD}" srcOrd="2" destOrd="0" presId="urn:microsoft.com/office/officeart/2008/layout/LinedList"/>
    <dgm:cxn modelId="{B5D705D4-959B-45AC-AC21-D36BCC32F990}" type="presParOf" srcId="{D185A547-8F86-4583-8B6B-82FCA61DDA65}" destId="{23F9E16B-1029-40F1-8531-D6C8F2B37D67}" srcOrd="3" destOrd="0" presId="urn:microsoft.com/office/officeart/2008/layout/LinedList"/>
    <dgm:cxn modelId="{7F04B41B-BA88-4D24-BF51-8496144E5F30}" type="presParOf" srcId="{23F9E16B-1029-40F1-8531-D6C8F2B37D67}" destId="{65BCFCFC-D8EE-466F-97E9-208585BAE6B6}" srcOrd="0" destOrd="0" presId="urn:microsoft.com/office/officeart/2008/layout/LinedList"/>
    <dgm:cxn modelId="{DEED6217-0115-473F-9ED7-8FC5FF3466B8}" type="presParOf" srcId="{23F9E16B-1029-40F1-8531-D6C8F2B37D67}" destId="{398E3312-3E25-4DD3-82D7-28BAF29D69A2}" srcOrd="1" destOrd="0" presId="urn:microsoft.com/office/officeart/2008/layout/LinedList"/>
    <dgm:cxn modelId="{C99E0108-1CCF-4FB2-98E7-AF7AB302FA33}" type="presParOf" srcId="{D185A547-8F86-4583-8B6B-82FCA61DDA65}" destId="{FA946C11-11D9-4BD6-9BEE-EFB81F37ABED}" srcOrd="4" destOrd="0" presId="urn:microsoft.com/office/officeart/2008/layout/LinedList"/>
    <dgm:cxn modelId="{B4F232D6-A786-4AAF-A0EB-C1F761A8A40C}" type="presParOf" srcId="{D185A547-8F86-4583-8B6B-82FCA61DDA65}" destId="{B1E32CB6-41BA-45D6-98DA-E26FF42C6A77}" srcOrd="5" destOrd="0" presId="urn:microsoft.com/office/officeart/2008/layout/LinedList"/>
    <dgm:cxn modelId="{B40E4DF9-6450-46F0-8E1B-18AAE6796BA3}" type="presParOf" srcId="{B1E32CB6-41BA-45D6-98DA-E26FF42C6A77}" destId="{36C27154-B31B-4EE3-9B73-269020324A12}" srcOrd="0" destOrd="0" presId="urn:microsoft.com/office/officeart/2008/layout/LinedList"/>
    <dgm:cxn modelId="{6EB6B68B-CBC5-44CF-8DAF-A16A9379854E}" type="presParOf" srcId="{B1E32CB6-41BA-45D6-98DA-E26FF42C6A77}" destId="{CB79B82D-5B18-4C0C-AC07-163739C1700D}"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1CE8D0D-D641-4228-9305-0709B13F7AC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CED28DC6-D75B-41C8-A793-9AD23EC7FA3C}">
      <dgm:prSet custT="1"/>
      <dgm:spPr/>
      <dgm:t>
        <a:bodyPr/>
        <a:lstStyle/>
        <a:p>
          <a:r>
            <a:rPr lang="en-US" sz="2400" b="0" baseline="0"/>
            <a:t>Generates</a:t>
          </a:r>
          <a:r>
            <a:rPr lang="en-US" sz="2400" baseline="0"/>
            <a:t> a </a:t>
          </a:r>
          <a:r>
            <a:rPr lang="en-US" sz="2400" b="1" baseline="0"/>
            <a:t>terminating</a:t>
          </a:r>
          <a:r>
            <a:rPr lang="en-US" sz="2400" baseline="0"/>
            <a:t> </a:t>
          </a:r>
          <a:r>
            <a:rPr lang="en-US" sz="2400" b="1" baseline="0"/>
            <a:t>error</a:t>
          </a:r>
          <a:r>
            <a:rPr lang="en-US" sz="2400" baseline="0"/>
            <a:t> with a custom message</a:t>
          </a:r>
          <a:endParaRPr lang="en-US" sz="2400"/>
        </a:p>
      </dgm:t>
    </dgm:pt>
    <dgm:pt modelId="{338CCDF9-5395-48A1-BB6C-3C7D29278F40}" type="parTrans" cxnId="{65BA0FAC-237D-42E9-A3ED-E4F4458293C4}">
      <dgm:prSet/>
      <dgm:spPr/>
      <dgm:t>
        <a:bodyPr/>
        <a:lstStyle/>
        <a:p>
          <a:endParaRPr lang="en-US" sz="2400"/>
        </a:p>
      </dgm:t>
    </dgm:pt>
    <dgm:pt modelId="{A9FD2470-56C2-4F49-8A41-D046FDF2C773}" type="sibTrans" cxnId="{65BA0FAC-237D-42E9-A3ED-E4F4458293C4}">
      <dgm:prSet/>
      <dgm:spPr/>
      <dgm:t>
        <a:bodyPr/>
        <a:lstStyle/>
        <a:p>
          <a:endParaRPr lang="en-US" sz="2400"/>
        </a:p>
      </dgm:t>
    </dgm:pt>
    <dgm:pt modelId="{F67B35E8-5C1C-4B6F-84E7-DEE4FEA08ECC}">
      <dgm:prSet custT="1"/>
      <dgm:spPr/>
      <dgm:t>
        <a:bodyPr/>
        <a:lstStyle/>
        <a:p>
          <a:r>
            <a:rPr lang="en-US" sz="2400" baseline="0"/>
            <a:t>Useful to </a:t>
          </a:r>
          <a:r>
            <a:rPr lang="en-US" sz="2400" b="1" baseline="0"/>
            <a:t>halt code </a:t>
          </a:r>
          <a:r>
            <a:rPr lang="en-US" sz="2400" baseline="0"/>
            <a:t>and report errors back to caller for severe issues</a:t>
          </a:r>
        </a:p>
      </dgm:t>
    </dgm:pt>
    <dgm:pt modelId="{49D01ED9-2159-4726-9788-95A886B76725}" type="parTrans" cxnId="{262DE012-19D9-4E58-85F6-79E3AA52092C}">
      <dgm:prSet/>
      <dgm:spPr/>
      <dgm:t>
        <a:bodyPr/>
        <a:lstStyle/>
        <a:p>
          <a:endParaRPr lang="en-US" sz="2400"/>
        </a:p>
      </dgm:t>
    </dgm:pt>
    <dgm:pt modelId="{1303E944-85DB-4AB1-8953-36DDB19CBD87}" type="sibTrans" cxnId="{262DE012-19D9-4E58-85F6-79E3AA52092C}">
      <dgm:prSet/>
      <dgm:spPr/>
      <dgm:t>
        <a:bodyPr/>
        <a:lstStyle/>
        <a:p>
          <a:endParaRPr lang="en-US" sz="2400"/>
        </a:p>
      </dgm:t>
    </dgm:pt>
    <dgm:pt modelId="{D4045A49-E85B-4F0F-81E8-967E41D88B02}">
      <dgm:prSet custT="1"/>
      <dgm:spPr/>
      <dgm:t>
        <a:bodyPr/>
        <a:lstStyle/>
        <a:p>
          <a:r>
            <a:rPr lang="en-US" sz="2400" baseline="0"/>
            <a:t>Can be </a:t>
          </a:r>
          <a:r>
            <a:rPr lang="en-US" sz="2400" b="1" baseline="0"/>
            <a:t>handled</a:t>
          </a:r>
          <a:r>
            <a:rPr lang="en-US" sz="2400" baseline="0"/>
            <a:t> by caller like any other terminating error</a:t>
          </a:r>
        </a:p>
      </dgm:t>
    </dgm:pt>
    <dgm:pt modelId="{D3BF7399-3343-4B64-AF34-5F05116D7168}" type="parTrans" cxnId="{F292FD54-BDB6-4D99-8144-A3723F42A5FA}">
      <dgm:prSet/>
      <dgm:spPr/>
      <dgm:t>
        <a:bodyPr/>
        <a:lstStyle/>
        <a:p>
          <a:endParaRPr lang="en-US"/>
        </a:p>
      </dgm:t>
    </dgm:pt>
    <dgm:pt modelId="{6AB8D772-4C75-4FE7-8D26-88CFCB90C1C8}" type="sibTrans" cxnId="{F292FD54-BDB6-4D99-8144-A3723F42A5FA}">
      <dgm:prSet/>
      <dgm:spPr/>
      <dgm:t>
        <a:bodyPr/>
        <a:lstStyle/>
        <a:p>
          <a:endParaRPr lang="en-US"/>
        </a:p>
      </dgm:t>
    </dgm:pt>
    <dgm:pt modelId="{B49E477E-545B-4B17-82E6-A19B8AB92644}" type="pres">
      <dgm:prSet presAssocID="{C1CE8D0D-D641-4228-9305-0709B13F7AC4}" presName="vert0" presStyleCnt="0">
        <dgm:presLayoutVars>
          <dgm:dir/>
          <dgm:animOne val="branch"/>
          <dgm:animLvl val="lvl"/>
        </dgm:presLayoutVars>
      </dgm:prSet>
      <dgm:spPr/>
    </dgm:pt>
    <dgm:pt modelId="{61991E5A-E3BC-45FE-A0AF-732016F0A070}" type="pres">
      <dgm:prSet presAssocID="{CED28DC6-D75B-41C8-A793-9AD23EC7FA3C}" presName="thickLine" presStyleLbl="alignNode1" presStyleIdx="0" presStyleCnt="3"/>
      <dgm:spPr/>
    </dgm:pt>
    <dgm:pt modelId="{19BBEDDF-5ABD-4055-BE97-A601A49DADFB}" type="pres">
      <dgm:prSet presAssocID="{CED28DC6-D75B-41C8-A793-9AD23EC7FA3C}" presName="horz1" presStyleCnt="0"/>
      <dgm:spPr/>
    </dgm:pt>
    <dgm:pt modelId="{F1C50357-6E7E-440A-8A91-05A4CAE403CA}" type="pres">
      <dgm:prSet presAssocID="{CED28DC6-D75B-41C8-A793-9AD23EC7FA3C}" presName="tx1" presStyleLbl="revTx" presStyleIdx="0" presStyleCnt="3"/>
      <dgm:spPr/>
    </dgm:pt>
    <dgm:pt modelId="{5693CE6C-ECF5-4FA3-8F7F-12CDFA3A97E8}" type="pres">
      <dgm:prSet presAssocID="{CED28DC6-D75B-41C8-A793-9AD23EC7FA3C}" presName="vert1" presStyleCnt="0"/>
      <dgm:spPr/>
    </dgm:pt>
    <dgm:pt modelId="{AB4D5F18-7B0A-42F2-ABE8-2F5DD12A4278}" type="pres">
      <dgm:prSet presAssocID="{F67B35E8-5C1C-4B6F-84E7-DEE4FEA08ECC}" presName="thickLine" presStyleLbl="alignNode1" presStyleIdx="1" presStyleCnt="3"/>
      <dgm:spPr/>
    </dgm:pt>
    <dgm:pt modelId="{8DC631E6-FC77-4F2F-B756-4D776DFB24CE}" type="pres">
      <dgm:prSet presAssocID="{F67B35E8-5C1C-4B6F-84E7-DEE4FEA08ECC}" presName="horz1" presStyleCnt="0"/>
      <dgm:spPr/>
    </dgm:pt>
    <dgm:pt modelId="{63D34EE3-BD97-4036-B6B7-78E1269841FC}" type="pres">
      <dgm:prSet presAssocID="{F67B35E8-5C1C-4B6F-84E7-DEE4FEA08ECC}" presName="tx1" presStyleLbl="revTx" presStyleIdx="1" presStyleCnt="3"/>
      <dgm:spPr/>
    </dgm:pt>
    <dgm:pt modelId="{EF3A777A-B7F2-4B30-A4B6-F22D43B1F7A7}" type="pres">
      <dgm:prSet presAssocID="{F67B35E8-5C1C-4B6F-84E7-DEE4FEA08ECC}" presName="vert1" presStyleCnt="0"/>
      <dgm:spPr/>
    </dgm:pt>
    <dgm:pt modelId="{F32AF0DD-17E9-4703-9786-329F7C0B3E45}" type="pres">
      <dgm:prSet presAssocID="{D4045A49-E85B-4F0F-81E8-967E41D88B02}" presName="thickLine" presStyleLbl="alignNode1" presStyleIdx="2" presStyleCnt="3"/>
      <dgm:spPr/>
    </dgm:pt>
    <dgm:pt modelId="{7D7582E6-C870-4FBA-89B8-296FD3AE48AD}" type="pres">
      <dgm:prSet presAssocID="{D4045A49-E85B-4F0F-81E8-967E41D88B02}" presName="horz1" presStyleCnt="0"/>
      <dgm:spPr/>
    </dgm:pt>
    <dgm:pt modelId="{F604CE22-880B-4F01-9DAB-678CE9FAAE64}" type="pres">
      <dgm:prSet presAssocID="{D4045A49-E85B-4F0F-81E8-967E41D88B02}" presName="tx1" presStyleLbl="revTx" presStyleIdx="2" presStyleCnt="3"/>
      <dgm:spPr/>
    </dgm:pt>
    <dgm:pt modelId="{07EEDE45-8E97-48F6-A85B-392BD5F09829}" type="pres">
      <dgm:prSet presAssocID="{D4045A49-E85B-4F0F-81E8-967E41D88B02}" presName="vert1" presStyleCnt="0"/>
      <dgm:spPr/>
    </dgm:pt>
  </dgm:ptLst>
  <dgm:cxnLst>
    <dgm:cxn modelId="{262DE012-19D9-4E58-85F6-79E3AA52092C}" srcId="{C1CE8D0D-D641-4228-9305-0709B13F7AC4}" destId="{F67B35E8-5C1C-4B6F-84E7-DEE4FEA08ECC}" srcOrd="1" destOrd="0" parTransId="{49D01ED9-2159-4726-9788-95A886B76725}" sibTransId="{1303E944-85DB-4AB1-8953-36DDB19CBD87}"/>
    <dgm:cxn modelId="{6CDF3342-D3B7-4DBE-B379-0C901089C3AB}" type="presOf" srcId="{D4045A49-E85B-4F0F-81E8-967E41D88B02}" destId="{F604CE22-880B-4F01-9DAB-678CE9FAAE64}" srcOrd="0" destOrd="0" presId="urn:microsoft.com/office/officeart/2008/layout/LinedList"/>
    <dgm:cxn modelId="{F292FD54-BDB6-4D99-8144-A3723F42A5FA}" srcId="{C1CE8D0D-D641-4228-9305-0709B13F7AC4}" destId="{D4045A49-E85B-4F0F-81E8-967E41D88B02}" srcOrd="2" destOrd="0" parTransId="{D3BF7399-3343-4B64-AF34-5F05116D7168}" sibTransId="{6AB8D772-4C75-4FE7-8D26-88CFCB90C1C8}"/>
    <dgm:cxn modelId="{E5D9C378-49BD-47CC-B52F-AC0ADA7495E0}" type="presOf" srcId="{C1CE8D0D-D641-4228-9305-0709B13F7AC4}" destId="{B49E477E-545B-4B17-82E6-A19B8AB92644}" srcOrd="0" destOrd="0" presId="urn:microsoft.com/office/officeart/2008/layout/LinedList"/>
    <dgm:cxn modelId="{C9295F9F-9AC8-49C5-B96E-90F117CD9038}" type="presOf" srcId="{CED28DC6-D75B-41C8-A793-9AD23EC7FA3C}" destId="{F1C50357-6E7E-440A-8A91-05A4CAE403CA}" srcOrd="0" destOrd="0" presId="urn:microsoft.com/office/officeart/2008/layout/LinedList"/>
    <dgm:cxn modelId="{65BA0FAC-237D-42E9-A3ED-E4F4458293C4}" srcId="{C1CE8D0D-D641-4228-9305-0709B13F7AC4}" destId="{CED28DC6-D75B-41C8-A793-9AD23EC7FA3C}" srcOrd="0" destOrd="0" parTransId="{338CCDF9-5395-48A1-BB6C-3C7D29278F40}" sibTransId="{A9FD2470-56C2-4F49-8A41-D046FDF2C773}"/>
    <dgm:cxn modelId="{092EDCE1-E36A-4350-8781-FAD66234F56A}" type="presOf" srcId="{F67B35E8-5C1C-4B6F-84E7-DEE4FEA08ECC}" destId="{63D34EE3-BD97-4036-B6B7-78E1269841FC}" srcOrd="0" destOrd="0" presId="urn:microsoft.com/office/officeart/2008/layout/LinedList"/>
    <dgm:cxn modelId="{F2175B0B-4282-491E-9BA7-26C3F5F72AF6}" type="presParOf" srcId="{B49E477E-545B-4B17-82E6-A19B8AB92644}" destId="{61991E5A-E3BC-45FE-A0AF-732016F0A070}" srcOrd="0" destOrd="0" presId="urn:microsoft.com/office/officeart/2008/layout/LinedList"/>
    <dgm:cxn modelId="{8D5C3674-0B7B-44C0-AF5A-3DC74B7BF9A9}" type="presParOf" srcId="{B49E477E-545B-4B17-82E6-A19B8AB92644}" destId="{19BBEDDF-5ABD-4055-BE97-A601A49DADFB}" srcOrd="1" destOrd="0" presId="urn:microsoft.com/office/officeart/2008/layout/LinedList"/>
    <dgm:cxn modelId="{115375EB-7622-4891-B96D-4C553D6030A5}" type="presParOf" srcId="{19BBEDDF-5ABD-4055-BE97-A601A49DADFB}" destId="{F1C50357-6E7E-440A-8A91-05A4CAE403CA}" srcOrd="0" destOrd="0" presId="urn:microsoft.com/office/officeart/2008/layout/LinedList"/>
    <dgm:cxn modelId="{49B209A8-6B3A-41EA-A66B-4332EA7A439E}" type="presParOf" srcId="{19BBEDDF-5ABD-4055-BE97-A601A49DADFB}" destId="{5693CE6C-ECF5-4FA3-8F7F-12CDFA3A97E8}" srcOrd="1" destOrd="0" presId="urn:microsoft.com/office/officeart/2008/layout/LinedList"/>
    <dgm:cxn modelId="{8D6B9A98-3975-4FC0-AF7B-98E9503C8A8C}" type="presParOf" srcId="{B49E477E-545B-4B17-82E6-A19B8AB92644}" destId="{AB4D5F18-7B0A-42F2-ABE8-2F5DD12A4278}" srcOrd="2" destOrd="0" presId="urn:microsoft.com/office/officeart/2008/layout/LinedList"/>
    <dgm:cxn modelId="{167AD338-D77D-4337-A2CB-173B549814AA}" type="presParOf" srcId="{B49E477E-545B-4B17-82E6-A19B8AB92644}" destId="{8DC631E6-FC77-4F2F-B756-4D776DFB24CE}" srcOrd="3" destOrd="0" presId="urn:microsoft.com/office/officeart/2008/layout/LinedList"/>
    <dgm:cxn modelId="{237C7AAA-856D-40F8-9D99-E36873246302}" type="presParOf" srcId="{8DC631E6-FC77-4F2F-B756-4D776DFB24CE}" destId="{63D34EE3-BD97-4036-B6B7-78E1269841FC}" srcOrd="0" destOrd="0" presId="urn:microsoft.com/office/officeart/2008/layout/LinedList"/>
    <dgm:cxn modelId="{E8C0CF1C-1838-4A35-A56A-B4CE7C3D2FCD}" type="presParOf" srcId="{8DC631E6-FC77-4F2F-B756-4D776DFB24CE}" destId="{EF3A777A-B7F2-4B30-A4B6-F22D43B1F7A7}" srcOrd="1" destOrd="0" presId="urn:microsoft.com/office/officeart/2008/layout/LinedList"/>
    <dgm:cxn modelId="{646F3AC0-7A0B-436A-A61B-659C9F709089}" type="presParOf" srcId="{B49E477E-545B-4B17-82E6-A19B8AB92644}" destId="{F32AF0DD-17E9-4703-9786-329F7C0B3E45}" srcOrd="4" destOrd="0" presId="urn:microsoft.com/office/officeart/2008/layout/LinedList"/>
    <dgm:cxn modelId="{713797A7-026C-47F8-BE13-D4893552A3A1}" type="presParOf" srcId="{B49E477E-545B-4B17-82E6-A19B8AB92644}" destId="{7D7582E6-C870-4FBA-89B8-296FD3AE48AD}" srcOrd="5" destOrd="0" presId="urn:microsoft.com/office/officeart/2008/layout/LinedList"/>
    <dgm:cxn modelId="{560D000D-F3E6-41EA-BD2A-B306C0093158}" type="presParOf" srcId="{7D7582E6-C870-4FBA-89B8-296FD3AE48AD}" destId="{F604CE22-880B-4F01-9DAB-678CE9FAAE64}" srcOrd="0" destOrd="0" presId="urn:microsoft.com/office/officeart/2008/layout/LinedList"/>
    <dgm:cxn modelId="{12CBC32D-D7D8-418C-86E2-A247F6928429}" type="presParOf" srcId="{7D7582E6-C870-4FBA-89B8-296FD3AE48AD}" destId="{07EEDE45-8E97-48F6-A85B-392BD5F09829}"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10137C4-7336-42C7-9B26-F64B6219F90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81817FF-4E36-4A9A-9508-8A0A585FB760}">
      <dgm:prSet custT="1"/>
      <dgm:spPr>
        <a:solidFill>
          <a:srgbClr val="6B2929"/>
        </a:solidFill>
      </dgm:spPr>
      <dgm:t>
        <a:bodyPr/>
        <a:lstStyle/>
        <a:p>
          <a:r>
            <a:rPr lang="en-US" sz="2000"/>
            <a:t>.NET has many </a:t>
          </a:r>
          <a:r>
            <a:rPr lang="en-US" sz="2000" b="1"/>
            <a:t>specific</a:t>
          </a:r>
          <a:r>
            <a:rPr lang="en-US" sz="2000"/>
            <a:t> exceptions</a:t>
          </a:r>
        </a:p>
      </dgm:t>
    </dgm:pt>
    <dgm:pt modelId="{EB2F0DAB-F0F4-4CFB-B817-E3CD622717C6}" type="parTrans" cxnId="{D29E793D-5997-4069-9733-58B6DEE14DDA}">
      <dgm:prSet/>
      <dgm:spPr/>
      <dgm:t>
        <a:bodyPr/>
        <a:lstStyle/>
        <a:p>
          <a:endParaRPr lang="en-US" sz="2000"/>
        </a:p>
      </dgm:t>
    </dgm:pt>
    <dgm:pt modelId="{2C0D592B-1778-4068-B4B4-70DDB43C1811}" type="sibTrans" cxnId="{D29E793D-5997-4069-9733-58B6DEE14DDA}">
      <dgm:prSet/>
      <dgm:spPr/>
      <dgm:t>
        <a:bodyPr/>
        <a:lstStyle/>
        <a:p>
          <a:endParaRPr lang="en-US" sz="2000"/>
        </a:p>
      </dgm:t>
    </dgm:pt>
    <dgm:pt modelId="{DE3806D5-84CB-44DF-B5CC-8825589E103E}">
      <dgm:prSet custT="1"/>
      <dgm:spPr>
        <a:solidFill>
          <a:srgbClr val="6B2929"/>
        </a:solidFill>
      </dgm:spPr>
      <dgm:t>
        <a:bodyPr/>
        <a:lstStyle/>
        <a:p>
          <a:r>
            <a:rPr lang="en-US" sz="2000"/>
            <a:t>Exception </a:t>
          </a:r>
          <a:r>
            <a:rPr lang="en-US" sz="2000" b="1"/>
            <a:t>type</a:t>
          </a:r>
          <a:r>
            <a:rPr lang="en-US" sz="2000"/>
            <a:t> can be found</a:t>
          </a:r>
        </a:p>
      </dgm:t>
    </dgm:pt>
    <dgm:pt modelId="{B49319BE-919C-4002-B036-379736C5A443}" type="parTrans" cxnId="{B25757C3-CFFE-49B0-BBDC-548B025CBA93}">
      <dgm:prSet/>
      <dgm:spPr/>
      <dgm:t>
        <a:bodyPr/>
        <a:lstStyle/>
        <a:p>
          <a:endParaRPr lang="en-US" sz="2000"/>
        </a:p>
      </dgm:t>
    </dgm:pt>
    <dgm:pt modelId="{3D087855-2758-4E35-B383-C03FAA506956}" type="sibTrans" cxnId="{B25757C3-CFFE-49B0-BBDC-548B025CBA93}">
      <dgm:prSet/>
      <dgm:spPr/>
      <dgm:t>
        <a:bodyPr/>
        <a:lstStyle/>
        <a:p>
          <a:endParaRPr lang="en-US" sz="2000"/>
        </a:p>
      </dgm:t>
    </dgm:pt>
    <dgm:pt modelId="{3F7FD9CD-A309-4402-A73B-3EEDE1D0FC8E}">
      <dgm:prSet custT="1"/>
      <dgm:spPr/>
      <dgm:t>
        <a:bodyPr/>
        <a:lstStyle/>
        <a:p>
          <a:r>
            <a:rPr lang="en-US" sz="1800" err="1"/>
            <a:t>IndexOutOfRangeException</a:t>
          </a:r>
          <a:endParaRPr lang="en-US" sz="1800"/>
        </a:p>
      </dgm:t>
    </dgm:pt>
    <dgm:pt modelId="{6E88D618-D424-4BC5-94E6-6A134C841BF0}" type="parTrans" cxnId="{45DEBF20-AEA6-4045-B890-280F51A2C726}">
      <dgm:prSet/>
      <dgm:spPr/>
      <dgm:t>
        <a:bodyPr/>
        <a:lstStyle/>
        <a:p>
          <a:endParaRPr lang="en-US" sz="2000"/>
        </a:p>
      </dgm:t>
    </dgm:pt>
    <dgm:pt modelId="{23F52753-EC4F-421C-B212-ACD1BF90C37C}" type="sibTrans" cxnId="{45DEBF20-AEA6-4045-B890-280F51A2C726}">
      <dgm:prSet/>
      <dgm:spPr/>
      <dgm:t>
        <a:bodyPr/>
        <a:lstStyle/>
        <a:p>
          <a:endParaRPr lang="en-US" sz="2000"/>
        </a:p>
      </dgm:t>
    </dgm:pt>
    <dgm:pt modelId="{E8F69DE9-842C-4D9F-B7C6-7881C0B907D7}">
      <dgm:prSet custT="1"/>
      <dgm:spPr/>
      <dgm:t>
        <a:bodyPr/>
        <a:lstStyle/>
        <a:p>
          <a:r>
            <a:rPr lang="en-US" sz="1800"/>
            <a:t>NullReferenceException</a:t>
          </a:r>
        </a:p>
      </dgm:t>
    </dgm:pt>
    <dgm:pt modelId="{8EC2A9DE-5AB7-4ADB-A4F9-C4C29364B555}" type="parTrans" cxnId="{DB76F219-F90D-483E-9B9C-CB128A223E6C}">
      <dgm:prSet/>
      <dgm:spPr/>
      <dgm:t>
        <a:bodyPr/>
        <a:lstStyle/>
        <a:p>
          <a:endParaRPr lang="en-US" sz="2000"/>
        </a:p>
      </dgm:t>
    </dgm:pt>
    <dgm:pt modelId="{0FC180B0-293A-4BC2-876D-C0F8C09FDD06}" type="sibTrans" cxnId="{DB76F219-F90D-483E-9B9C-CB128A223E6C}">
      <dgm:prSet/>
      <dgm:spPr/>
      <dgm:t>
        <a:bodyPr/>
        <a:lstStyle/>
        <a:p>
          <a:endParaRPr lang="en-US" sz="2000"/>
        </a:p>
      </dgm:t>
    </dgm:pt>
    <dgm:pt modelId="{9FB75783-69AE-49AB-B5F1-53A9AD1EBB19}">
      <dgm:prSet custT="1"/>
      <dgm:spPr/>
      <dgm:t>
        <a:bodyPr/>
        <a:lstStyle/>
        <a:p>
          <a:r>
            <a:rPr lang="en-US" sz="1800" err="1"/>
            <a:t>InvalidOperationException</a:t>
          </a:r>
          <a:endParaRPr lang="en-US" sz="1800"/>
        </a:p>
      </dgm:t>
    </dgm:pt>
    <dgm:pt modelId="{5D2DB0C8-9330-4743-A827-93A1092692DD}" type="parTrans" cxnId="{894BA810-999C-43DA-BD84-9BC404AE8C77}">
      <dgm:prSet/>
      <dgm:spPr/>
      <dgm:t>
        <a:bodyPr/>
        <a:lstStyle/>
        <a:p>
          <a:endParaRPr lang="en-US" sz="2000"/>
        </a:p>
      </dgm:t>
    </dgm:pt>
    <dgm:pt modelId="{BFD2D8B1-153A-473E-8433-A2AA41698327}" type="sibTrans" cxnId="{894BA810-999C-43DA-BD84-9BC404AE8C77}">
      <dgm:prSet/>
      <dgm:spPr/>
      <dgm:t>
        <a:bodyPr/>
        <a:lstStyle/>
        <a:p>
          <a:endParaRPr lang="en-US" sz="2000"/>
        </a:p>
      </dgm:t>
    </dgm:pt>
    <dgm:pt modelId="{91BDF84F-D249-43F3-BAD1-19AA3DCEF31C}">
      <dgm:prSet custT="1"/>
      <dgm:spPr/>
      <dgm:t>
        <a:bodyPr/>
        <a:lstStyle/>
        <a:p>
          <a:r>
            <a:rPr lang="en-US" sz="1800"/>
            <a:t>ArgumentException</a:t>
          </a:r>
        </a:p>
      </dgm:t>
    </dgm:pt>
    <dgm:pt modelId="{7182D330-983A-402F-86D2-CD907C2464B4}" type="parTrans" cxnId="{7B074821-FD5F-4A09-BD38-9B6C4C288C0B}">
      <dgm:prSet/>
      <dgm:spPr/>
      <dgm:t>
        <a:bodyPr/>
        <a:lstStyle/>
        <a:p>
          <a:endParaRPr lang="en-US" sz="2000"/>
        </a:p>
      </dgm:t>
    </dgm:pt>
    <dgm:pt modelId="{C753D352-0617-4198-98C0-792313901187}" type="sibTrans" cxnId="{7B074821-FD5F-4A09-BD38-9B6C4C288C0B}">
      <dgm:prSet/>
      <dgm:spPr/>
      <dgm:t>
        <a:bodyPr/>
        <a:lstStyle/>
        <a:p>
          <a:endParaRPr lang="en-US" sz="2000"/>
        </a:p>
      </dgm:t>
    </dgm:pt>
    <dgm:pt modelId="{D82BDF58-B40C-4BAE-ADFB-6E21FFFE3802}">
      <dgm:prSet custT="1"/>
      <dgm:spPr/>
      <dgm:t>
        <a:bodyPr/>
        <a:lstStyle/>
        <a:p>
          <a:r>
            <a:rPr lang="en-US" sz="1800" err="1"/>
            <a:t>ArgumentNullException</a:t>
          </a:r>
          <a:endParaRPr lang="en-US" sz="1800"/>
        </a:p>
      </dgm:t>
    </dgm:pt>
    <dgm:pt modelId="{D7B95D50-541A-4AFD-B3CE-7BFBB3D4C7CF}" type="parTrans" cxnId="{93E73EE7-24B5-472E-ADB1-69A6B5694478}">
      <dgm:prSet/>
      <dgm:spPr/>
      <dgm:t>
        <a:bodyPr/>
        <a:lstStyle/>
        <a:p>
          <a:endParaRPr lang="en-US" sz="2000"/>
        </a:p>
      </dgm:t>
    </dgm:pt>
    <dgm:pt modelId="{53605A46-F030-4218-A7B4-15B323CA302D}" type="sibTrans" cxnId="{93E73EE7-24B5-472E-ADB1-69A6B5694478}">
      <dgm:prSet/>
      <dgm:spPr/>
      <dgm:t>
        <a:bodyPr/>
        <a:lstStyle/>
        <a:p>
          <a:endParaRPr lang="en-US" sz="2000"/>
        </a:p>
      </dgm:t>
    </dgm:pt>
    <dgm:pt modelId="{33176BCB-0773-447D-98D8-319EFB490FEC}">
      <dgm:prSet custT="1"/>
      <dgm:spPr/>
      <dgm:t>
        <a:bodyPr/>
        <a:lstStyle/>
        <a:p>
          <a:r>
            <a:rPr lang="en-US" sz="1800" err="1"/>
            <a:t>DivideByZeroException</a:t>
          </a:r>
          <a:endParaRPr lang="en-US" sz="1800"/>
        </a:p>
      </dgm:t>
    </dgm:pt>
    <dgm:pt modelId="{A9CE405F-82FF-43F0-A09C-DD0F7AFC0EC7}" type="parTrans" cxnId="{71532C1B-69C9-499A-A5F1-53E967153569}">
      <dgm:prSet/>
      <dgm:spPr/>
      <dgm:t>
        <a:bodyPr/>
        <a:lstStyle/>
        <a:p>
          <a:endParaRPr lang="en-US" sz="2000"/>
        </a:p>
      </dgm:t>
    </dgm:pt>
    <dgm:pt modelId="{7A3A45EF-A601-46FB-99C1-2032F83B6284}" type="sibTrans" cxnId="{71532C1B-69C9-499A-A5F1-53E967153569}">
      <dgm:prSet/>
      <dgm:spPr/>
      <dgm:t>
        <a:bodyPr/>
        <a:lstStyle/>
        <a:p>
          <a:endParaRPr lang="en-US" sz="2000"/>
        </a:p>
      </dgm:t>
    </dgm:pt>
    <dgm:pt modelId="{648FC1AB-BEA2-4E7E-94E8-4562EF19DDAA}">
      <dgm:prSet custT="1"/>
      <dgm:spPr>
        <a:solidFill>
          <a:srgbClr val="6B2929"/>
        </a:solidFill>
      </dgm:spPr>
      <dgm:t>
        <a:bodyPr/>
        <a:lstStyle/>
        <a:p>
          <a:r>
            <a:rPr lang="en-US" sz="2000"/>
            <a:t>Can all be handled </a:t>
          </a:r>
          <a:r>
            <a:rPr lang="en-US" sz="2000" b="1"/>
            <a:t>differently</a:t>
          </a:r>
        </a:p>
      </dgm:t>
    </dgm:pt>
    <dgm:pt modelId="{C0414227-3E96-49CC-9487-E3CA17CB5B03}" type="parTrans" cxnId="{9F4D7BDA-7E67-4AD2-968D-71D2D070938C}">
      <dgm:prSet/>
      <dgm:spPr/>
      <dgm:t>
        <a:bodyPr/>
        <a:lstStyle/>
        <a:p>
          <a:endParaRPr lang="en-US" sz="2000"/>
        </a:p>
      </dgm:t>
    </dgm:pt>
    <dgm:pt modelId="{D0C1DEF0-ABA6-446B-8976-328E577A6532}" type="sibTrans" cxnId="{9F4D7BDA-7E67-4AD2-968D-71D2D070938C}">
      <dgm:prSet/>
      <dgm:spPr/>
      <dgm:t>
        <a:bodyPr/>
        <a:lstStyle/>
        <a:p>
          <a:endParaRPr lang="en-US" sz="2000"/>
        </a:p>
      </dgm:t>
    </dgm:pt>
    <dgm:pt modelId="{10847FB0-254E-431C-A42C-846DB25804EC}">
      <dgm:prSet custT="1"/>
      <dgm:spPr/>
      <dgm:t>
        <a:bodyPr/>
        <a:lstStyle/>
        <a:p>
          <a:r>
            <a:rPr lang="en-US" sz="2000"/>
            <a:t>$Error[0].</a:t>
          </a:r>
          <a:r>
            <a:rPr lang="en-US" sz="2000" err="1"/>
            <a:t>Exception.FullName</a:t>
          </a:r>
          <a:endParaRPr lang="en-US" sz="2000"/>
        </a:p>
      </dgm:t>
    </dgm:pt>
    <dgm:pt modelId="{6F1CCE56-E7F9-4857-8E32-3D54B03AC2AD}" type="parTrans" cxnId="{50E5413E-194B-414B-B5F0-A29BC86D594E}">
      <dgm:prSet/>
      <dgm:spPr/>
      <dgm:t>
        <a:bodyPr/>
        <a:lstStyle/>
        <a:p>
          <a:endParaRPr lang="en-US" sz="2000"/>
        </a:p>
      </dgm:t>
    </dgm:pt>
    <dgm:pt modelId="{48E3B57F-101B-4D24-9B54-43433E57735A}" type="sibTrans" cxnId="{50E5413E-194B-414B-B5F0-A29BC86D594E}">
      <dgm:prSet/>
      <dgm:spPr/>
      <dgm:t>
        <a:bodyPr/>
        <a:lstStyle/>
        <a:p>
          <a:endParaRPr lang="en-US" sz="2000"/>
        </a:p>
      </dgm:t>
    </dgm:pt>
    <dgm:pt modelId="{8A02E782-FD30-4C6B-8D60-E23673E7F426}">
      <dgm:prSet custT="1"/>
      <dgm:spPr>
        <a:solidFill>
          <a:srgbClr val="6B2929"/>
        </a:solidFill>
      </dgm:spPr>
      <dgm:t>
        <a:bodyPr/>
        <a:lstStyle/>
        <a:p>
          <a:r>
            <a:rPr lang="en-US" sz="2000"/>
            <a:t>Some </a:t>
          </a:r>
          <a:r>
            <a:rPr lang="en-US" sz="2000" b="1"/>
            <a:t>common</a:t>
          </a:r>
          <a:r>
            <a:rPr lang="en-US" sz="2000"/>
            <a:t> exceptions:</a:t>
          </a:r>
        </a:p>
      </dgm:t>
    </dgm:pt>
    <dgm:pt modelId="{E0A63149-1D37-4072-A38F-37CFBA49DAA4}" type="parTrans" cxnId="{1506C891-4662-44BD-AEC5-88CA12B1CA97}">
      <dgm:prSet/>
      <dgm:spPr/>
      <dgm:t>
        <a:bodyPr/>
        <a:lstStyle/>
        <a:p>
          <a:endParaRPr lang="en-US"/>
        </a:p>
      </dgm:t>
    </dgm:pt>
    <dgm:pt modelId="{143B621F-CB6B-4535-995E-88498A840BBA}" type="sibTrans" cxnId="{1506C891-4662-44BD-AEC5-88CA12B1CA97}">
      <dgm:prSet/>
      <dgm:spPr/>
      <dgm:t>
        <a:bodyPr/>
        <a:lstStyle/>
        <a:p>
          <a:endParaRPr lang="en-US"/>
        </a:p>
      </dgm:t>
    </dgm:pt>
    <dgm:pt modelId="{5B995A80-EC05-4271-B6E5-B4E22962C1D9}">
      <dgm:prSet custT="1"/>
      <dgm:spPr/>
      <dgm:t>
        <a:bodyPr/>
        <a:lstStyle/>
        <a:p>
          <a:r>
            <a:rPr lang="en-US" sz="1800" err="1"/>
            <a:t>SystemException</a:t>
          </a:r>
          <a:endParaRPr lang="en-US" sz="1800"/>
        </a:p>
      </dgm:t>
    </dgm:pt>
    <dgm:pt modelId="{2E8BF1FE-E2C2-490E-8CC0-3DF952A32273}" type="parTrans" cxnId="{2D67ADD0-F6B0-4412-9AD1-E954106DBFE1}">
      <dgm:prSet/>
      <dgm:spPr/>
    </dgm:pt>
    <dgm:pt modelId="{86EC8FE7-4B7A-4E98-A6D6-2C49E9DDF9EC}" type="sibTrans" cxnId="{2D67ADD0-F6B0-4412-9AD1-E954106DBFE1}">
      <dgm:prSet/>
      <dgm:spPr/>
    </dgm:pt>
    <dgm:pt modelId="{5A25350E-F856-406C-A429-9CD1DDA993B3}" type="pres">
      <dgm:prSet presAssocID="{B10137C4-7336-42C7-9B26-F64B6219F90B}" presName="linear" presStyleCnt="0">
        <dgm:presLayoutVars>
          <dgm:animLvl val="lvl"/>
          <dgm:resizeHandles val="exact"/>
        </dgm:presLayoutVars>
      </dgm:prSet>
      <dgm:spPr/>
    </dgm:pt>
    <dgm:pt modelId="{BFFC47D7-EE70-4D36-946F-415A04648F88}" type="pres">
      <dgm:prSet presAssocID="{E81817FF-4E36-4A9A-9508-8A0A585FB760}" presName="parentText" presStyleLbl="node1" presStyleIdx="0" presStyleCnt="4">
        <dgm:presLayoutVars>
          <dgm:chMax val="0"/>
          <dgm:bulletEnabled val="1"/>
        </dgm:presLayoutVars>
      </dgm:prSet>
      <dgm:spPr/>
    </dgm:pt>
    <dgm:pt modelId="{E7048F7C-DD00-4958-94F4-96E807FCDB86}" type="pres">
      <dgm:prSet presAssocID="{2C0D592B-1778-4068-B4B4-70DDB43C1811}" presName="spacer" presStyleCnt="0"/>
      <dgm:spPr/>
    </dgm:pt>
    <dgm:pt modelId="{9595C805-0BF8-4251-B182-54CD3E85B4EC}" type="pres">
      <dgm:prSet presAssocID="{648FC1AB-BEA2-4E7E-94E8-4562EF19DDAA}" presName="parentText" presStyleLbl="node1" presStyleIdx="1" presStyleCnt="4">
        <dgm:presLayoutVars>
          <dgm:chMax val="0"/>
          <dgm:bulletEnabled val="1"/>
        </dgm:presLayoutVars>
      </dgm:prSet>
      <dgm:spPr/>
    </dgm:pt>
    <dgm:pt modelId="{DFC503CD-2B37-4DD4-A825-4F4A141D204B}" type="pres">
      <dgm:prSet presAssocID="{D0C1DEF0-ABA6-446B-8976-328E577A6532}" presName="spacer" presStyleCnt="0"/>
      <dgm:spPr/>
    </dgm:pt>
    <dgm:pt modelId="{D632DB8B-ACF9-4A32-BD05-437CD3AB8FAC}" type="pres">
      <dgm:prSet presAssocID="{DE3806D5-84CB-44DF-B5CC-8825589E103E}" presName="parentText" presStyleLbl="node1" presStyleIdx="2" presStyleCnt="4">
        <dgm:presLayoutVars>
          <dgm:chMax val="0"/>
          <dgm:bulletEnabled val="1"/>
        </dgm:presLayoutVars>
      </dgm:prSet>
      <dgm:spPr/>
    </dgm:pt>
    <dgm:pt modelId="{8984CE67-1EDE-4296-AA3A-E75AC1661187}" type="pres">
      <dgm:prSet presAssocID="{DE3806D5-84CB-44DF-B5CC-8825589E103E}" presName="childText" presStyleLbl="revTx" presStyleIdx="0" presStyleCnt="2">
        <dgm:presLayoutVars>
          <dgm:bulletEnabled val="1"/>
        </dgm:presLayoutVars>
      </dgm:prSet>
      <dgm:spPr/>
    </dgm:pt>
    <dgm:pt modelId="{175D1DF5-6E2A-4469-9503-94D0A29D8DB0}" type="pres">
      <dgm:prSet presAssocID="{8A02E782-FD30-4C6B-8D60-E23673E7F426}" presName="parentText" presStyleLbl="node1" presStyleIdx="3" presStyleCnt="4">
        <dgm:presLayoutVars>
          <dgm:chMax val="0"/>
          <dgm:bulletEnabled val="1"/>
        </dgm:presLayoutVars>
      </dgm:prSet>
      <dgm:spPr/>
    </dgm:pt>
    <dgm:pt modelId="{C0F5EB65-2DB4-46DC-91B3-CA919900BC75}" type="pres">
      <dgm:prSet presAssocID="{8A02E782-FD30-4C6B-8D60-E23673E7F426}" presName="childText" presStyleLbl="revTx" presStyleIdx="1" presStyleCnt="2">
        <dgm:presLayoutVars>
          <dgm:bulletEnabled val="1"/>
        </dgm:presLayoutVars>
      </dgm:prSet>
      <dgm:spPr/>
    </dgm:pt>
  </dgm:ptLst>
  <dgm:cxnLst>
    <dgm:cxn modelId="{894BA810-999C-43DA-BD84-9BC404AE8C77}" srcId="{8A02E782-FD30-4C6B-8D60-E23673E7F426}" destId="{9FB75783-69AE-49AB-B5F1-53A9AD1EBB19}" srcOrd="3" destOrd="0" parTransId="{5D2DB0C8-9330-4743-A827-93A1092692DD}" sibTransId="{BFD2D8B1-153A-473E-8433-A2AA41698327}"/>
    <dgm:cxn modelId="{2B288211-689A-4E0F-94D5-124DE81E77AF}" type="presOf" srcId="{8A02E782-FD30-4C6B-8D60-E23673E7F426}" destId="{175D1DF5-6E2A-4469-9503-94D0A29D8DB0}" srcOrd="0" destOrd="0" presId="urn:microsoft.com/office/officeart/2005/8/layout/vList2"/>
    <dgm:cxn modelId="{DB76F219-F90D-483E-9B9C-CB128A223E6C}" srcId="{8A02E782-FD30-4C6B-8D60-E23673E7F426}" destId="{E8F69DE9-842C-4D9F-B7C6-7881C0B907D7}" srcOrd="2" destOrd="0" parTransId="{8EC2A9DE-5AB7-4ADB-A4F9-C4C29364B555}" sibTransId="{0FC180B0-293A-4BC2-876D-C0F8C09FDD06}"/>
    <dgm:cxn modelId="{71532C1B-69C9-499A-A5F1-53E967153569}" srcId="{8A02E782-FD30-4C6B-8D60-E23673E7F426}" destId="{33176BCB-0773-447D-98D8-319EFB490FEC}" srcOrd="6" destOrd="0" parTransId="{A9CE405F-82FF-43F0-A09C-DD0F7AFC0EC7}" sibTransId="{7A3A45EF-A601-46FB-99C1-2032F83B6284}"/>
    <dgm:cxn modelId="{45DEBF20-AEA6-4045-B890-280F51A2C726}" srcId="{8A02E782-FD30-4C6B-8D60-E23673E7F426}" destId="{3F7FD9CD-A309-4402-A73B-3EEDE1D0FC8E}" srcOrd="1" destOrd="0" parTransId="{6E88D618-D424-4BC5-94E6-6A134C841BF0}" sibTransId="{23F52753-EC4F-421C-B212-ACD1BF90C37C}"/>
    <dgm:cxn modelId="{7B074821-FD5F-4A09-BD38-9B6C4C288C0B}" srcId="{8A02E782-FD30-4C6B-8D60-E23673E7F426}" destId="{91BDF84F-D249-43F3-BAD1-19AA3DCEF31C}" srcOrd="4" destOrd="0" parTransId="{7182D330-983A-402F-86D2-CD907C2464B4}" sibTransId="{C753D352-0617-4198-98C0-792313901187}"/>
    <dgm:cxn modelId="{AF92F82D-A67F-44F3-9F0F-B1AF384CD54C}" type="presOf" srcId="{DE3806D5-84CB-44DF-B5CC-8825589E103E}" destId="{D632DB8B-ACF9-4A32-BD05-437CD3AB8FAC}" srcOrd="0" destOrd="0" presId="urn:microsoft.com/office/officeart/2005/8/layout/vList2"/>
    <dgm:cxn modelId="{D29E793D-5997-4069-9733-58B6DEE14DDA}" srcId="{B10137C4-7336-42C7-9B26-F64B6219F90B}" destId="{E81817FF-4E36-4A9A-9508-8A0A585FB760}" srcOrd="0" destOrd="0" parTransId="{EB2F0DAB-F0F4-4CFB-B817-E3CD622717C6}" sibTransId="{2C0D592B-1778-4068-B4B4-70DDB43C1811}"/>
    <dgm:cxn modelId="{50E5413E-194B-414B-B5F0-A29BC86D594E}" srcId="{DE3806D5-84CB-44DF-B5CC-8825589E103E}" destId="{10847FB0-254E-431C-A42C-846DB25804EC}" srcOrd="0" destOrd="0" parTransId="{6F1CCE56-E7F9-4857-8E32-3D54B03AC2AD}" sibTransId="{48E3B57F-101B-4D24-9B54-43433E57735A}"/>
    <dgm:cxn modelId="{12EB713E-9BB5-4808-8CBC-5F30CFE41843}" type="presOf" srcId="{5B995A80-EC05-4271-B6E5-B4E22962C1D9}" destId="{C0F5EB65-2DB4-46DC-91B3-CA919900BC75}" srcOrd="0" destOrd="0" presId="urn:microsoft.com/office/officeart/2005/8/layout/vList2"/>
    <dgm:cxn modelId="{A5C86040-AE65-4605-A19C-4E25BAADB8A3}" type="presOf" srcId="{D82BDF58-B40C-4BAE-ADFB-6E21FFFE3802}" destId="{C0F5EB65-2DB4-46DC-91B3-CA919900BC75}" srcOrd="0" destOrd="5" presId="urn:microsoft.com/office/officeart/2005/8/layout/vList2"/>
    <dgm:cxn modelId="{916D526C-8C0B-4E92-A6FD-065A11E36C59}" type="presOf" srcId="{91BDF84F-D249-43F3-BAD1-19AA3DCEF31C}" destId="{C0F5EB65-2DB4-46DC-91B3-CA919900BC75}" srcOrd="0" destOrd="4" presId="urn:microsoft.com/office/officeart/2005/8/layout/vList2"/>
    <dgm:cxn modelId="{13E7B151-A710-4093-A5DC-2530FB7D0EFD}" type="presOf" srcId="{B10137C4-7336-42C7-9B26-F64B6219F90B}" destId="{5A25350E-F856-406C-A429-9CD1DDA993B3}" srcOrd="0" destOrd="0" presId="urn:microsoft.com/office/officeart/2005/8/layout/vList2"/>
    <dgm:cxn modelId="{2108B673-3CFF-4A5D-9FF1-5A5918783F77}" type="presOf" srcId="{9FB75783-69AE-49AB-B5F1-53A9AD1EBB19}" destId="{C0F5EB65-2DB4-46DC-91B3-CA919900BC75}" srcOrd="0" destOrd="3" presId="urn:microsoft.com/office/officeart/2005/8/layout/vList2"/>
    <dgm:cxn modelId="{763CC187-79F3-4554-B5F4-BF3289DDFB75}" type="presOf" srcId="{33176BCB-0773-447D-98D8-319EFB490FEC}" destId="{C0F5EB65-2DB4-46DC-91B3-CA919900BC75}" srcOrd="0" destOrd="6" presId="urn:microsoft.com/office/officeart/2005/8/layout/vList2"/>
    <dgm:cxn modelId="{1506C891-4662-44BD-AEC5-88CA12B1CA97}" srcId="{B10137C4-7336-42C7-9B26-F64B6219F90B}" destId="{8A02E782-FD30-4C6B-8D60-E23673E7F426}" srcOrd="3" destOrd="0" parTransId="{E0A63149-1D37-4072-A38F-37CFBA49DAA4}" sibTransId="{143B621F-CB6B-4535-995E-88498A840BBA}"/>
    <dgm:cxn modelId="{43D347A2-C2E9-4B22-9C97-E3E5114F28FC}" type="presOf" srcId="{E81817FF-4E36-4A9A-9508-8A0A585FB760}" destId="{BFFC47D7-EE70-4D36-946F-415A04648F88}" srcOrd="0" destOrd="0" presId="urn:microsoft.com/office/officeart/2005/8/layout/vList2"/>
    <dgm:cxn modelId="{CAEF8DA2-4678-4C03-953C-BC39734C6512}" type="presOf" srcId="{10847FB0-254E-431C-A42C-846DB25804EC}" destId="{8984CE67-1EDE-4296-AA3A-E75AC1661187}" srcOrd="0" destOrd="0" presId="urn:microsoft.com/office/officeart/2005/8/layout/vList2"/>
    <dgm:cxn modelId="{AA1783A3-1B99-4B3B-A4B7-C16C4787E970}" type="presOf" srcId="{3F7FD9CD-A309-4402-A73B-3EEDE1D0FC8E}" destId="{C0F5EB65-2DB4-46DC-91B3-CA919900BC75}" srcOrd="0" destOrd="1" presId="urn:microsoft.com/office/officeart/2005/8/layout/vList2"/>
    <dgm:cxn modelId="{B25757C3-CFFE-49B0-BBDC-548B025CBA93}" srcId="{B10137C4-7336-42C7-9B26-F64B6219F90B}" destId="{DE3806D5-84CB-44DF-B5CC-8825589E103E}" srcOrd="2" destOrd="0" parTransId="{B49319BE-919C-4002-B036-379736C5A443}" sibTransId="{3D087855-2758-4E35-B383-C03FAA506956}"/>
    <dgm:cxn modelId="{AD73DACD-6BFC-4472-8DF8-E67461A65E58}" type="presOf" srcId="{648FC1AB-BEA2-4E7E-94E8-4562EF19DDAA}" destId="{9595C805-0BF8-4251-B182-54CD3E85B4EC}" srcOrd="0" destOrd="0" presId="urn:microsoft.com/office/officeart/2005/8/layout/vList2"/>
    <dgm:cxn modelId="{2D67ADD0-F6B0-4412-9AD1-E954106DBFE1}" srcId="{8A02E782-FD30-4C6B-8D60-E23673E7F426}" destId="{5B995A80-EC05-4271-B6E5-B4E22962C1D9}" srcOrd="0" destOrd="0" parTransId="{2E8BF1FE-E2C2-490E-8CC0-3DF952A32273}" sibTransId="{86EC8FE7-4B7A-4E98-A6D6-2C49E9DDF9EC}"/>
    <dgm:cxn modelId="{9F4D7BDA-7E67-4AD2-968D-71D2D070938C}" srcId="{B10137C4-7336-42C7-9B26-F64B6219F90B}" destId="{648FC1AB-BEA2-4E7E-94E8-4562EF19DDAA}" srcOrd="1" destOrd="0" parTransId="{C0414227-3E96-49CC-9487-E3CA17CB5B03}" sibTransId="{D0C1DEF0-ABA6-446B-8976-328E577A6532}"/>
    <dgm:cxn modelId="{93E73EE7-24B5-472E-ADB1-69A6B5694478}" srcId="{8A02E782-FD30-4C6B-8D60-E23673E7F426}" destId="{D82BDF58-B40C-4BAE-ADFB-6E21FFFE3802}" srcOrd="5" destOrd="0" parTransId="{D7B95D50-541A-4AFD-B3CE-7BFBB3D4C7CF}" sibTransId="{53605A46-F030-4218-A7B4-15B323CA302D}"/>
    <dgm:cxn modelId="{20FD17E9-F92E-4D7F-BCEF-E27BBE9183A7}" type="presOf" srcId="{E8F69DE9-842C-4D9F-B7C6-7881C0B907D7}" destId="{C0F5EB65-2DB4-46DC-91B3-CA919900BC75}" srcOrd="0" destOrd="2" presId="urn:microsoft.com/office/officeart/2005/8/layout/vList2"/>
    <dgm:cxn modelId="{D7689AB0-45C8-4ED9-9C6D-5F8BF2B36DBD}" type="presParOf" srcId="{5A25350E-F856-406C-A429-9CD1DDA993B3}" destId="{BFFC47D7-EE70-4D36-946F-415A04648F88}" srcOrd="0" destOrd="0" presId="urn:microsoft.com/office/officeart/2005/8/layout/vList2"/>
    <dgm:cxn modelId="{AD31F153-9CB4-4E1D-9F96-81490BF9B2D4}" type="presParOf" srcId="{5A25350E-F856-406C-A429-9CD1DDA993B3}" destId="{E7048F7C-DD00-4958-94F4-96E807FCDB86}" srcOrd="1" destOrd="0" presId="urn:microsoft.com/office/officeart/2005/8/layout/vList2"/>
    <dgm:cxn modelId="{48826CC4-3649-420E-91E9-E916D810DF0A}" type="presParOf" srcId="{5A25350E-F856-406C-A429-9CD1DDA993B3}" destId="{9595C805-0BF8-4251-B182-54CD3E85B4EC}" srcOrd="2" destOrd="0" presId="urn:microsoft.com/office/officeart/2005/8/layout/vList2"/>
    <dgm:cxn modelId="{F6AF111A-A4C5-461F-BC79-E3480C1DD3A1}" type="presParOf" srcId="{5A25350E-F856-406C-A429-9CD1DDA993B3}" destId="{DFC503CD-2B37-4DD4-A825-4F4A141D204B}" srcOrd="3" destOrd="0" presId="urn:microsoft.com/office/officeart/2005/8/layout/vList2"/>
    <dgm:cxn modelId="{8F5E2D57-717A-4134-AED7-AA3738FE723A}" type="presParOf" srcId="{5A25350E-F856-406C-A429-9CD1DDA993B3}" destId="{D632DB8B-ACF9-4A32-BD05-437CD3AB8FAC}" srcOrd="4" destOrd="0" presId="urn:microsoft.com/office/officeart/2005/8/layout/vList2"/>
    <dgm:cxn modelId="{67263546-0196-45D5-B567-83879689F86D}" type="presParOf" srcId="{5A25350E-F856-406C-A429-9CD1DDA993B3}" destId="{8984CE67-1EDE-4296-AA3A-E75AC1661187}" srcOrd="5" destOrd="0" presId="urn:microsoft.com/office/officeart/2005/8/layout/vList2"/>
    <dgm:cxn modelId="{4CC5B8C7-E388-4756-A28F-2F46C5851E93}" type="presParOf" srcId="{5A25350E-F856-406C-A429-9CD1DDA993B3}" destId="{175D1DF5-6E2A-4469-9503-94D0A29D8DB0}" srcOrd="6" destOrd="0" presId="urn:microsoft.com/office/officeart/2005/8/layout/vList2"/>
    <dgm:cxn modelId="{96BC0B72-AC22-4003-85AB-F29D9CF791B4}" type="presParOf" srcId="{5A25350E-F856-406C-A429-9CD1DDA993B3}" destId="{C0F5EB65-2DB4-46DC-91B3-CA919900BC75}" srcOrd="7"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7368D0B-0430-4A91-94E1-D0097F6BB4FA}"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017CA063-7EEA-489C-87A9-E2147DD0A5AD}">
      <dgm:prSet/>
      <dgm:spPr/>
      <dgm:t>
        <a:bodyPr/>
        <a:lstStyle/>
        <a:p>
          <a:r>
            <a:rPr lang="en-US">
              <a:latin typeface="Segoe UI" panose="020B0502040204020203" pitchFamily="34" charset="0"/>
              <a:cs typeface="Segoe UI Light"/>
            </a:rPr>
            <a:t>Code block to run when terminating error occurs</a:t>
          </a:r>
          <a:endParaRPr lang="en-US"/>
        </a:p>
      </dgm:t>
    </dgm:pt>
    <dgm:pt modelId="{E0B8EF2F-113F-4507-B8FC-3374D37646B0}" type="parTrans" cxnId="{27388B70-3F24-45ED-AE22-CF9A1F9E0AC5}">
      <dgm:prSet/>
      <dgm:spPr/>
      <dgm:t>
        <a:bodyPr/>
        <a:lstStyle/>
        <a:p>
          <a:endParaRPr lang="en-US"/>
        </a:p>
      </dgm:t>
    </dgm:pt>
    <dgm:pt modelId="{BD1C0346-86D3-4E46-82D3-0636A98D6820}" type="sibTrans" cxnId="{27388B70-3F24-45ED-AE22-CF9A1F9E0AC5}">
      <dgm:prSet/>
      <dgm:spPr/>
      <dgm:t>
        <a:bodyPr/>
        <a:lstStyle/>
        <a:p>
          <a:endParaRPr lang="en-US"/>
        </a:p>
      </dgm:t>
    </dgm:pt>
    <dgm:pt modelId="{1635F56D-E788-4300-B08E-66F105414E60}">
      <dgm:prSet/>
      <dgm:spPr/>
      <dgm:t>
        <a:bodyPr/>
        <a:lstStyle/>
        <a:p>
          <a:r>
            <a:rPr lang="en-US" i="0"/>
            <a:t>Simple way to ensure all terminating errors are handled</a:t>
          </a:r>
        </a:p>
      </dgm:t>
    </dgm:pt>
    <dgm:pt modelId="{58E16C08-E058-4264-A239-B00ACBD2A41C}" type="parTrans" cxnId="{F33CB2CA-1AB6-4B41-ACEC-70149B37A6CC}">
      <dgm:prSet/>
      <dgm:spPr/>
      <dgm:t>
        <a:bodyPr/>
        <a:lstStyle/>
        <a:p>
          <a:endParaRPr lang="en-US"/>
        </a:p>
      </dgm:t>
    </dgm:pt>
    <dgm:pt modelId="{993EC587-4929-4010-A6BE-20373D4ABDAE}" type="sibTrans" cxnId="{F33CB2CA-1AB6-4B41-ACEC-70149B37A6CC}">
      <dgm:prSet/>
      <dgm:spPr/>
      <dgm:t>
        <a:bodyPr/>
        <a:lstStyle/>
        <a:p>
          <a:endParaRPr lang="en-US"/>
        </a:p>
      </dgm:t>
    </dgm:pt>
    <dgm:pt modelId="{3A25F396-3993-40C8-ACE1-6100753554C6}">
      <dgm:prSet/>
      <dgm:spPr/>
      <dgm:t>
        <a:bodyPr/>
        <a:lstStyle/>
        <a:p>
          <a:r>
            <a:rPr lang="en-US">
              <a:latin typeface="Segoe UI" panose="020B0502040204020203" pitchFamily="34" charset="0"/>
              <a:cs typeface="Segoe UI Light"/>
            </a:rPr>
            <a:t>Behavior of </a:t>
          </a:r>
          <a:r>
            <a:rPr lang="en-US" b="1">
              <a:latin typeface="Segoe UI" panose="020B0502040204020203" pitchFamily="34" charset="0"/>
              <a:cs typeface="Segoe UI Light"/>
            </a:rPr>
            <a:t>trap { }</a:t>
          </a:r>
        </a:p>
      </dgm:t>
    </dgm:pt>
    <dgm:pt modelId="{9F443CF8-BAD5-4D7B-8C3F-00C5B2AE8846}" type="parTrans" cxnId="{B0D103B2-7607-4880-AF30-065C2C18CF0D}">
      <dgm:prSet/>
      <dgm:spPr/>
      <dgm:t>
        <a:bodyPr/>
        <a:lstStyle/>
        <a:p>
          <a:endParaRPr lang="en-US"/>
        </a:p>
      </dgm:t>
    </dgm:pt>
    <dgm:pt modelId="{E68B217B-2C11-448A-B532-3BDBE2C3ACEB}" type="sibTrans" cxnId="{B0D103B2-7607-4880-AF30-065C2C18CF0D}">
      <dgm:prSet/>
      <dgm:spPr/>
      <dgm:t>
        <a:bodyPr/>
        <a:lstStyle/>
        <a:p>
          <a:endParaRPr lang="en-US"/>
        </a:p>
      </dgm:t>
    </dgm:pt>
    <dgm:pt modelId="{DFC8C568-FF11-4699-AEFE-46FE489A4FFE}">
      <dgm:prSet/>
      <dgm:spPr/>
      <dgm:t>
        <a:bodyPr/>
        <a:lstStyle/>
        <a:p>
          <a:r>
            <a:rPr lang="en-US" b="0" i="1">
              <a:latin typeface="+mn-lt"/>
              <a:cs typeface="Segoe UI Light"/>
            </a:rPr>
            <a:t>(default) </a:t>
          </a:r>
          <a:r>
            <a:rPr lang="en-US" b="0" i="0">
              <a:latin typeface="+mn-lt"/>
              <a:cs typeface="Segoe UI Light"/>
            </a:rPr>
            <a:t>Display error message; continue rest of code</a:t>
          </a:r>
          <a:endParaRPr lang="en-US" b="0">
            <a:latin typeface="+mn-lt"/>
          </a:endParaRPr>
        </a:p>
      </dgm:t>
    </dgm:pt>
    <dgm:pt modelId="{A1488A11-3EB0-43EC-ADD8-CE32EAC799D1}" type="parTrans" cxnId="{A016E30E-1A39-474E-BF9E-0FDBB3C1C509}">
      <dgm:prSet/>
      <dgm:spPr/>
      <dgm:t>
        <a:bodyPr/>
        <a:lstStyle/>
        <a:p>
          <a:endParaRPr lang="en-US"/>
        </a:p>
      </dgm:t>
    </dgm:pt>
    <dgm:pt modelId="{627EABCD-1292-4970-B9FF-F0B08E5E2061}" type="sibTrans" cxnId="{A016E30E-1A39-474E-BF9E-0FDBB3C1C509}">
      <dgm:prSet/>
      <dgm:spPr/>
      <dgm:t>
        <a:bodyPr/>
        <a:lstStyle/>
        <a:p>
          <a:endParaRPr lang="en-US"/>
        </a:p>
      </dgm:t>
    </dgm:pt>
    <dgm:pt modelId="{212C391B-C1F8-42A7-848A-79294863685E}">
      <dgm:prSet/>
      <dgm:spPr/>
      <dgm:t>
        <a:bodyPr/>
        <a:lstStyle/>
        <a:p>
          <a:r>
            <a:rPr lang="en-US">
              <a:latin typeface="Segoe UI" panose="020B0502040204020203" pitchFamily="34" charset="0"/>
              <a:cs typeface="Segoe UI Light"/>
            </a:rPr>
            <a:t>Multiple </a:t>
          </a:r>
          <a:r>
            <a:rPr lang="en-US" b="1">
              <a:latin typeface="Segoe UI" panose="020B0502040204020203" pitchFamily="34" charset="0"/>
              <a:cs typeface="Segoe UI Light"/>
            </a:rPr>
            <a:t>trap { } </a:t>
          </a:r>
          <a:r>
            <a:rPr lang="en-US" b="0">
              <a:latin typeface="Segoe UI" panose="020B0502040204020203" pitchFamily="34" charset="0"/>
              <a:cs typeface="Segoe UI Light"/>
            </a:rPr>
            <a:t>blocks may be defined</a:t>
          </a:r>
          <a:endParaRPr lang="en-US">
            <a:latin typeface="Segoe UI" panose="020B0502040204020203" pitchFamily="34" charset="0"/>
            <a:cs typeface="Segoe UI Light"/>
          </a:endParaRPr>
        </a:p>
      </dgm:t>
    </dgm:pt>
    <dgm:pt modelId="{966FF3FE-24D6-4E76-BCDE-B3A840C14571}" type="parTrans" cxnId="{7D1711BD-7756-4424-B929-3A7A3C8A62D7}">
      <dgm:prSet/>
      <dgm:spPr/>
      <dgm:t>
        <a:bodyPr/>
        <a:lstStyle/>
        <a:p>
          <a:endParaRPr lang="en-US"/>
        </a:p>
      </dgm:t>
    </dgm:pt>
    <dgm:pt modelId="{B5E0595C-59B2-40C2-8F7B-FD6C3AEC1895}" type="sibTrans" cxnId="{7D1711BD-7756-4424-B929-3A7A3C8A62D7}">
      <dgm:prSet/>
      <dgm:spPr/>
      <dgm:t>
        <a:bodyPr/>
        <a:lstStyle/>
        <a:p>
          <a:endParaRPr lang="en-US"/>
        </a:p>
      </dgm:t>
    </dgm:pt>
    <dgm:pt modelId="{05C5CDF3-11BF-4C05-8AF9-34E8219BB158}">
      <dgm:prSet/>
      <dgm:spPr/>
      <dgm:t>
        <a:bodyPr/>
        <a:lstStyle/>
        <a:p>
          <a:r>
            <a:rPr lang="en-US" i="0"/>
            <a:t>Can also handle specific terminating error exception types</a:t>
          </a:r>
        </a:p>
      </dgm:t>
    </dgm:pt>
    <dgm:pt modelId="{F78180E4-F399-4D48-BB4A-F07FB6EC49CD}" type="parTrans" cxnId="{02DC2D40-4661-43C4-AB7C-8BCA818E312E}">
      <dgm:prSet/>
      <dgm:spPr/>
      <dgm:t>
        <a:bodyPr/>
        <a:lstStyle/>
        <a:p>
          <a:endParaRPr lang="en-US"/>
        </a:p>
      </dgm:t>
    </dgm:pt>
    <dgm:pt modelId="{7E3AF8A3-9890-4B35-9DEA-15168505E864}" type="sibTrans" cxnId="{02DC2D40-4661-43C4-AB7C-8BCA818E312E}">
      <dgm:prSet/>
      <dgm:spPr/>
      <dgm:t>
        <a:bodyPr/>
        <a:lstStyle/>
        <a:p>
          <a:endParaRPr lang="en-US"/>
        </a:p>
      </dgm:t>
    </dgm:pt>
    <dgm:pt modelId="{B4EEDC0E-9BE4-4C10-81BE-C00A6BCF4F3D}">
      <dgm:prSet/>
      <dgm:spPr/>
      <dgm:t>
        <a:bodyPr/>
        <a:lstStyle/>
        <a:p>
          <a:r>
            <a:rPr lang="en-US" b="1">
              <a:latin typeface="+mn-lt"/>
            </a:rPr>
            <a:t>Break</a:t>
          </a:r>
          <a:r>
            <a:rPr lang="en-US" b="0">
              <a:latin typeface="+mn-lt"/>
            </a:rPr>
            <a:t> – Show error; stop code execution</a:t>
          </a:r>
          <a:endParaRPr lang="en-US" b="1">
            <a:latin typeface="+mn-lt"/>
          </a:endParaRPr>
        </a:p>
      </dgm:t>
    </dgm:pt>
    <dgm:pt modelId="{E1F2798B-79DE-4534-8D50-D1EC1A3F0DAE}" type="parTrans" cxnId="{FA93D08D-160F-40BA-B6F0-36DC21833DE1}">
      <dgm:prSet/>
      <dgm:spPr/>
      <dgm:t>
        <a:bodyPr/>
        <a:lstStyle/>
        <a:p>
          <a:endParaRPr lang="en-US"/>
        </a:p>
      </dgm:t>
    </dgm:pt>
    <dgm:pt modelId="{FEF0F46E-9E76-4BA5-978C-AB829B07012D}" type="sibTrans" cxnId="{FA93D08D-160F-40BA-B6F0-36DC21833DE1}">
      <dgm:prSet/>
      <dgm:spPr/>
      <dgm:t>
        <a:bodyPr/>
        <a:lstStyle/>
        <a:p>
          <a:endParaRPr lang="en-US"/>
        </a:p>
      </dgm:t>
    </dgm:pt>
    <dgm:pt modelId="{770E2AAD-DFE2-442A-9D52-934DFD104122}">
      <dgm:prSet/>
      <dgm:spPr/>
      <dgm:t>
        <a:bodyPr/>
        <a:lstStyle/>
        <a:p>
          <a:r>
            <a:rPr lang="en-US" b="1">
              <a:latin typeface="+mn-lt"/>
            </a:rPr>
            <a:t>Continue </a:t>
          </a:r>
          <a:r>
            <a:rPr lang="en-US" b="0">
              <a:latin typeface="+mn-lt"/>
            </a:rPr>
            <a:t>– Hide error; continue rest of code</a:t>
          </a:r>
          <a:endParaRPr lang="en-US" b="1">
            <a:latin typeface="+mn-lt"/>
          </a:endParaRPr>
        </a:p>
      </dgm:t>
    </dgm:pt>
    <dgm:pt modelId="{9BF68416-EBA5-43EA-9937-DF29ECA5B55D}" type="parTrans" cxnId="{96595DBB-560C-4E85-81D6-31598F14DF5C}">
      <dgm:prSet/>
      <dgm:spPr/>
      <dgm:t>
        <a:bodyPr/>
        <a:lstStyle/>
        <a:p>
          <a:endParaRPr lang="en-US"/>
        </a:p>
      </dgm:t>
    </dgm:pt>
    <dgm:pt modelId="{9ED9A70D-D725-4CAF-A856-034D13168B2C}" type="sibTrans" cxnId="{96595DBB-560C-4E85-81D6-31598F14DF5C}">
      <dgm:prSet/>
      <dgm:spPr/>
      <dgm:t>
        <a:bodyPr/>
        <a:lstStyle/>
        <a:p>
          <a:endParaRPr lang="en-US"/>
        </a:p>
      </dgm:t>
    </dgm:pt>
    <dgm:pt modelId="{D0C577BB-E5F9-445C-BD3B-F381B7C97FF4}" type="pres">
      <dgm:prSet presAssocID="{47368D0B-0430-4A91-94E1-D0097F6BB4FA}" presName="linear" presStyleCnt="0">
        <dgm:presLayoutVars>
          <dgm:dir/>
          <dgm:animLvl val="lvl"/>
          <dgm:resizeHandles val="exact"/>
        </dgm:presLayoutVars>
      </dgm:prSet>
      <dgm:spPr/>
    </dgm:pt>
    <dgm:pt modelId="{A44D9DDE-CF71-4034-8896-26974EDE40D1}" type="pres">
      <dgm:prSet presAssocID="{017CA063-7EEA-489C-87A9-E2147DD0A5AD}" presName="parentLin" presStyleCnt="0"/>
      <dgm:spPr/>
    </dgm:pt>
    <dgm:pt modelId="{C9ABC32E-FA20-4FD9-B626-84F6E0E5394E}" type="pres">
      <dgm:prSet presAssocID="{017CA063-7EEA-489C-87A9-E2147DD0A5AD}" presName="parentLeftMargin" presStyleLbl="node1" presStyleIdx="0" presStyleCnt="2"/>
      <dgm:spPr/>
    </dgm:pt>
    <dgm:pt modelId="{18908422-52C7-4763-A1E3-9EBBF766EA6C}" type="pres">
      <dgm:prSet presAssocID="{017CA063-7EEA-489C-87A9-E2147DD0A5AD}" presName="parentText" presStyleLbl="node1" presStyleIdx="0" presStyleCnt="2">
        <dgm:presLayoutVars>
          <dgm:chMax val="0"/>
          <dgm:bulletEnabled val="1"/>
        </dgm:presLayoutVars>
      </dgm:prSet>
      <dgm:spPr/>
    </dgm:pt>
    <dgm:pt modelId="{271F75AF-6EB2-4929-9092-0B45139A2EFB}" type="pres">
      <dgm:prSet presAssocID="{017CA063-7EEA-489C-87A9-E2147DD0A5AD}" presName="negativeSpace" presStyleCnt="0"/>
      <dgm:spPr/>
    </dgm:pt>
    <dgm:pt modelId="{8EA12C17-EC0E-46D8-865F-F3EB1F3B3BC4}" type="pres">
      <dgm:prSet presAssocID="{017CA063-7EEA-489C-87A9-E2147DD0A5AD}" presName="childText" presStyleLbl="conFgAcc1" presStyleIdx="0" presStyleCnt="2">
        <dgm:presLayoutVars>
          <dgm:bulletEnabled val="1"/>
        </dgm:presLayoutVars>
      </dgm:prSet>
      <dgm:spPr/>
    </dgm:pt>
    <dgm:pt modelId="{B3B9499B-A840-4DAD-986F-A115F1A991CA}" type="pres">
      <dgm:prSet presAssocID="{BD1C0346-86D3-4E46-82D3-0636A98D6820}" presName="spaceBetweenRectangles" presStyleCnt="0"/>
      <dgm:spPr/>
    </dgm:pt>
    <dgm:pt modelId="{4D5C7F6A-4B34-48AA-AA56-1E179BD8322F}" type="pres">
      <dgm:prSet presAssocID="{3A25F396-3993-40C8-ACE1-6100753554C6}" presName="parentLin" presStyleCnt="0"/>
      <dgm:spPr/>
    </dgm:pt>
    <dgm:pt modelId="{ABF5CA3A-21E6-4F18-8DDD-997BE41D60D6}" type="pres">
      <dgm:prSet presAssocID="{3A25F396-3993-40C8-ACE1-6100753554C6}" presName="parentLeftMargin" presStyleLbl="node1" presStyleIdx="0" presStyleCnt="2"/>
      <dgm:spPr/>
    </dgm:pt>
    <dgm:pt modelId="{1DC53310-B5DA-4695-9569-31555EBDBBD7}" type="pres">
      <dgm:prSet presAssocID="{3A25F396-3993-40C8-ACE1-6100753554C6}" presName="parentText" presStyleLbl="node1" presStyleIdx="1" presStyleCnt="2">
        <dgm:presLayoutVars>
          <dgm:chMax val="0"/>
          <dgm:bulletEnabled val="1"/>
        </dgm:presLayoutVars>
      </dgm:prSet>
      <dgm:spPr/>
    </dgm:pt>
    <dgm:pt modelId="{0E952304-2A08-45BD-9DD1-3F620D3A1DA8}" type="pres">
      <dgm:prSet presAssocID="{3A25F396-3993-40C8-ACE1-6100753554C6}" presName="negativeSpace" presStyleCnt="0"/>
      <dgm:spPr/>
    </dgm:pt>
    <dgm:pt modelId="{96F16382-A0A0-48A6-9A21-D376A0191379}" type="pres">
      <dgm:prSet presAssocID="{3A25F396-3993-40C8-ACE1-6100753554C6}" presName="childText" presStyleLbl="conFgAcc1" presStyleIdx="1" presStyleCnt="2">
        <dgm:presLayoutVars>
          <dgm:bulletEnabled val="1"/>
        </dgm:presLayoutVars>
      </dgm:prSet>
      <dgm:spPr/>
    </dgm:pt>
  </dgm:ptLst>
  <dgm:cxnLst>
    <dgm:cxn modelId="{A016E30E-1A39-474E-BF9E-0FDBB3C1C509}" srcId="{3A25F396-3993-40C8-ACE1-6100753554C6}" destId="{DFC8C568-FF11-4699-AEFE-46FE489A4FFE}" srcOrd="0" destOrd="0" parTransId="{A1488A11-3EB0-43EC-ADD8-CE32EAC799D1}" sibTransId="{627EABCD-1292-4970-B9FF-F0B08E5E2061}"/>
    <dgm:cxn modelId="{2CB44E18-BB1B-4B64-81B1-437DA792FADB}" type="presOf" srcId="{1635F56D-E788-4300-B08E-66F105414E60}" destId="{8EA12C17-EC0E-46D8-865F-F3EB1F3B3BC4}" srcOrd="0" destOrd="0" presId="urn:microsoft.com/office/officeart/2005/8/layout/list1"/>
    <dgm:cxn modelId="{5547F923-64F5-4820-BA70-6569462043DD}" type="presOf" srcId="{017CA063-7EEA-489C-87A9-E2147DD0A5AD}" destId="{C9ABC32E-FA20-4FD9-B626-84F6E0E5394E}" srcOrd="0" destOrd="0" presId="urn:microsoft.com/office/officeart/2005/8/layout/list1"/>
    <dgm:cxn modelId="{770B3624-A034-40A4-A75B-F05FF89D7EA1}" type="presOf" srcId="{3A25F396-3993-40C8-ACE1-6100753554C6}" destId="{1DC53310-B5DA-4695-9569-31555EBDBBD7}" srcOrd="1" destOrd="0" presId="urn:microsoft.com/office/officeart/2005/8/layout/list1"/>
    <dgm:cxn modelId="{D4B01B33-29AC-4A20-89AF-9F2143B343C4}" type="presOf" srcId="{05C5CDF3-11BF-4C05-8AF9-34E8219BB158}" destId="{8EA12C17-EC0E-46D8-865F-F3EB1F3B3BC4}" srcOrd="0" destOrd="1" presId="urn:microsoft.com/office/officeart/2005/8/layout/list1"/>
    <dgm:cxn modelId="{02DC2D40-4661-43C4-AB7C-8BCA818E312E}" srcId="{017CA063-7EEA-489C-87A9-E2147DD0A5AD}" destId="{05C5CDF3-11BF-4C05-8AF9-34E8219BB158}" srcOrd="1" destOrd="0" parTransId="{F78180E4-F399-4D48-BB4A-F07FB6EC49CD}" sibTransId="{7E3AF8A3-9890-4B35-9DEA-15168505E864}"/>
    <dgm:cxn modelId="{C38A8E4D-6B6E-46FB-BDE3-9B19C9EBC51D}" type="presOf" srcId="{47368D0B-0430-4A91-94E1-D0097F6BB4FA}" destId="{D0C577BB-E5F9-445C-BD3B-F381B7C97FF4}" srcOrd="0" destOrd="0" presId="urn:microsoft.com/office/officeart/2005/8/layout/list1"/>
    <dgm:cxn modelId="{27388B70-3F24-45ED-AE22-CF9A1F9E0AC5}" srcId="{47368D0B-0430-4A91-94E1-D0097F6BB4FA}" destId="{017CA063-7EEA-489C-87A9-E2147DD0A5AD}" srcOrd="0" destOrd="0" parTransId="{E0B8EF2F-113F-4507-B8FC-3374D37646B0}" sibTransId="{BD1C0346-86D3-4E46-82D3-0636A98D6820}"/>
    <dgm:cxn modelId="{C1AA1D55-BC72-4FC1-ACBA-A7853C78D059}" type="presOf" srcId="{3A25F396-3993-40C8-ACE1-6100753554C6}" destId="{ABF5CA3A-21E6-4F18-8DDD-997BE41D60D6}" srcOrd="0" destOrd="0" presId="urn:microsoft.com/office/officeart/2005/8/layout/list1"/>
    <dgm:cxn modelId="{598BAE7D-20C2-4655-A179-5AEF8AC2EB38}" type="presOf" srcId="{DFC8C568-FF11-4699-AEFE-46FE489A4FFE}" destId="{96F16382-A0A0-48A6-9A21-D376A0191379}" srcOrd="0" destOrd="0" presId="urn:microsoft.com/office/officeart/2005/8/layout/list1"/>
    <dgm:cxn modelId="{FA93D08D-160F-40BA-B6F0-36DC21833DE1}" srcId="{3A25F396-3993-40C8-ACE1-6100753554C6}" destId="{B4EEDC0E-9BE4-4C10-81BE-C00A6BCF4F3D}" srcOrd="1" destOrd="0" parTransId="{E1F2798B-79DE-4534-8D50-D1EC1A3F0DAE}" sibTransId="{FEF0F46E-9E76-4BA5-978C-AB829B07012D}"/>
    <dgm:cxn modelId="{BEA2ADA6-938C-4173-B1DB-C952BC34545B}" type="presOf" srcId="{017CA063-7EEA-489C-87A9-E2147DD0A5AD}" destId="{18908422-52C7-4763-A1E3-9EBBF766EA6C}" srcOrd="1" destOrd="0" presId="urn:microsoft.com/office/officeart/2005/8/layout/list1"/>
    <dgm:cxn modelId="{B0D103B2-7607-4880-AF30-065C2C18CF0D}" srcId="{47368D0B-0430-4A91-94E1-D0097F6BB4FA}" destId="{3A25F396-3993-40C8-ACE1-6100753554C6}" srcOrd="1" destOrd="0" parTransId="{9F443CF8-BAD5-4D7B-8C3F-00C5B2AE8846}" sibTransId="{E68B217B-2C11-448A-B532-3BDBE2C3ACEB}"/>
    <dgm:cxn modelId="{96595DBB-560C-4E85-81D6-31598F14DF5C}" srcId="{3A25F396-3993-40C8-ACE1-6100753554C6}" destId="{770E2AAD-DFE2-442A-9D52-934DFD104122}" srcOrd="2" destOrd="0" parTransId="{9BF68416-EBA5-43EA-9937-DF29ECA5B55D}" sibTransId="{9ED9A70D-D725-4CAF-A856-034D13168B2C}"/>
    <dgm:cxn modelId="{7D1711BD-7756-4424-B929-3A7A3C8A62D7}" srcId="{017CA063-7EEA-489C-87A9-E2147DD0A5AD}" destId="{212C391B-C1F8-42A7-848A-79294863685E}" srcOrd="2" destOrd="0" parTransId="{966FF3FE-24D6-4E76-BCDE-B3A840C14571}" sibTransId="{B5E0595C-59B2-40C2-8F7B-FD6C3AEC1895}"/>
    <dgm:cxn modelId="{F33CB2CA-1AB6-4B41-ACEC-70149B37A6CC}" srcId="{017CA063-7EEA-489C-87A9-E2147DD0A5AD}" destId="{1635F56D-E788-4300-B08E-66F105414E60}" srcOrd="0" destOrd="0" parTransId="{58E16C08-E058-4264-A239-B00ACBD2A41C}" sibTransId="{993EC587-4929-4010-A6BE-20373D4ABDAE}"/>
    <dgm:cxn modelId="{BA815FCC-9B8A-4529-AEA9-2CDCDF3A75F3}" type="presOf" srcId="{212C391B-C1F8-42A7-848A-79294863685E}" destId="{8EA12C17-EC0E-46D8-865F-F3EB1F3B3BC4}" srcOrd="0" destOrd="2" presId="urn:microsoft.com/office/officeart/2005/8/layout/list1"/>
    <dgm:cxn modelId="{B6F2ABD0-D229-4AAB-A7F0-C65EFA273286}" type="presOf" srcId="{770E2AAD-DFE2-442A-9D52-934DFD104122}" destId="{96F16382-A0A0-48A6-9A21-D376A0191379}" srcOrd="0" destOrd="2" presId="urn:microsoft.com/office/officeart/2005/8/layout/list1"/>
    <dgm:cxn modelId="{9357ABD8-36C8-46D6-A2F5-A029F7979DA2}" type="presOf" srcId="{B4EEDC0E-9BE4-4C10-81BE-C00A6BCF4F3D}" destId="{96F16382-A0A0-48A6-9A21-D376A0191379}" srcOrd="0" destOrd="1" presId="urn:microsoft.com/office/officeart/2005/8/layout/list1"/>
    <dgm:cxn modelId="{0C497FA9-4C55-4EB2-AE00-BE3323DE8186}" type="presParOf" srcId="{D0C577BB-E5F9-445C-BD3B-F381B7C97FF4}" destId="{A44D9DDE-CF71-4034-8896-26974EDE40D1}" srcOrd="0" destOrd="0" presId="urn:microsoft.com/office/officeart/2005/8/layout/list1"/>
    <dgm:cxn modelId="{F285A9F4-E70A-472A-AE2C-A6D8932FA91D}" type="presParOf" srcId="{A44D9DDE-CF71-4034-8896-26974EDE40D1}" destId="{C9ABC32E-FA20-4FD9-B626-84F6E0E5394E}" srcOrd="0" destOrd="0" presId="urn:microsoft.com/office/officeart/2005/8/layout/list1"/>
    <dgm:cxn modelId="{CDCABEBA-5FEF-43A9-9FBC-470EF587900F}" type="presParOf" srcId="{A44D9DDE-CF71-4034-8896-26974EDE40D1}" destId="{18908422-52C7-4763-A1E3-9EBBF766EA6C}" srcOrd="1" destOrd="0" presId="urn:microsoft.com/office/officeart/2005/8/layout/list1"/>
    <dgm:cxn modelId="{1DF27405-905E-43D8-BD2D-A9DC4025E445}" type="presParOf" srcId="{D0C577BB-E5F9-445C-BD3B-F381B7C97FF4}" destId="{271F75AF-6EB2-4929-9092-0B45139A2EFB}" srcOrd="1" destOrd="0" presId="urn:microsoft.com/office/officeart/2005/8/layout/list1"/>
    <dgm:cxn modelId="{4593D336-A57F-4955-A0E9-BBD884D0071C}" type="presParOf" srcId="{D0C577BB-E5F9-445C-BD3B-F381B7C97FF4}" destId="{8EA12C17-EC0E-46D8-865F-F3EB1F3B3BC4}" srcOrd="2" destOrd="0" presId="urn:microsoft.com/office/officeart/2005/8/layout/list1"/>
    <dgm:cxn modelId="{238DF00F-20BC-4817-9F23-C61EE91A14EF}" type="presParOf" srcId="{D0C577BB-E5F9-445C-BD3B-F381B7C97FF4}" destId="{B3B9499B-A840-4DAD-986F-A115F1A991CA}" srcOrd="3" destOrd="0" presId="urn:microsoft.com/office/officeart/2005/8/layout/list1"/>
    <dgm:cxn modelId="{A4A1D039-E6DA-4CAF-B0D4-31859D5CFDF1}" type="presParOf" srcId="{D0C577BB-E5F9-445C-BD3B-F381B7C97FF4}" destId="{4D5C7F6A-4B34-48AA-AA56-1E179BD8322F}" srcOrd="4" destOrd="0" presId="urn:microsoft.com/office/officeart/2005/8/layout/list1"/>
    <dgm:cxn modelId="{C98EA3A1-C752-4923-8984-6A8FBDA2BB4B}" type="presParOf" srcId="{4D5C7F6A-4B34-48AA-AA56-1E179BD8322F}" destId="{ABF5CA3A-21E6-4F18-8DDD-997BE41D60D6}" srcOrd="0" destOrd="0" presId="urn:microsoft.com/office/officeart/2005/8/layout/list1"/>
    <dgm:cxn modelId="{6D992024-8A29-4105-9173-410190A6CF74}" type="presParOf" srcId="{4D5C7F6A-4B34-48AA-AA56-1E179BD8322F}" destId="{1DC53310-B5DA-4695-9569-31555EBDBBD7}" srcOrd="1" destOrd="0" presId="urn:microsoft.com/office/officeart/2005/8/layout/list1"/>
    <dgm:cxn modelId="{66279A74-79CE-4CE7-BB7D-892AC895449B}" type="presParOf" srcId="{D0C577BB-E5F9-445C-BD3B-F381B7C97FF4}" destId="{0E952304-2A08-45BD-9DD1-3F620D3A1DA8}" srcOrd="5" destOrd="0" presId="urn:microsoft.com/office/officeart/2005/8/layout/list1"/>
    <dgm:cxn modelId="{2E8FC5E2-B8EB-407F-9203-B5FA430A4045}" type="presParOf" srcId="{D0C577BB-E5F9-445C-BD3B-F381B7C97FF4}" destId="{96F16382-A0A0-48A6-9A21-D376A0191379}" srcOrd="6"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7368D0B-0430-4A91-94E1-D0097F6BB4FA}"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017CA063-7EEA-489C-87A9-E2147DD0A5AD}">
      <dgm:prSet/>
      <dgm:spPr/>
      <dgm:t>
        <a:bodyPr/>
        <a:lstStyle/>
        <a:p>
          <a:r>
            <a:rPr lang="en-US">
              <a:latin typeface="Segoe UI" panose="020B0502040204020203" pitchFamily="34" charset="0"/>
              <a:cs typeface="Segoe UI Light"/>
            </a:rPr>
            <a:t>Code block to run when terminating error occurs</a:t>
          </a:r>
          <a:endParaRPr lang="en-US"/>
        </a:p>
      </dgm:t>
    </dgm:pt>
    <dgm:pt modelId="{E0B8EF2F-113F-4507-B8FC-3374D37646B0}" type="parTrans" cxnId="{27388B70-3F24-45ED-AE22-CF9A1F9E0AC5}">
      <dgm:prSet/>
      <dgm:spPr/>
      <dgm:t>
        <a:bodyPr/>
        <a:lstStyle/>
        <a:p>
          <a:endParaRPr lang="en-US"/>
        </a:p>
      </dgm:t>
    </dgm:pt>
    <dgm:pt modelId="{BD1C0346-86D3-4E46-82D3-0636A98D6820}" type="sibTrans" cxnId="{27388B70-3F24-45ED-AE22-CF9A1F9E0AC5}">
      <dgm:prSet/>
      <dgm:spPr/>
      <dgm:t>
        <a:bodyPr/>
        <a:lstStyle/>
        <a:p>
          <a:endParaRPr lang="en-US"/>
        </a:p>
      </dgm:t>
    </dgm:pt>
    <dgm:pt modelId="{1635F56D-E788-4300-B08E-66F105414E60}">
      <dgm:prSet/>
      <dgm:spPr/>
      <dgm:t>
        <a:bodyPr/>
        <a:lstStyle/>
        <a:p>
          <a:r>
            <a:rPr lang="en-US" i="0" dirty="0"/>
            <a:t>Simple way to ensure </a:t>
          </a:r>
          <a:r>
            <a:rPr lang="en-US" b="1" i="0" dirty="0"/>
            <a:t>all</a:t>
          </a:r>
          <a:r>
            <a:rPr lang="en-US" i="0" dirty="0"/>
            <a:t> terminating errors are handled</a:t>
          </a:r>
        </a:p>
      </dgm:t>
    </dgm:pt>
    <dgm:pt modelId="{58E16C08-E058-4264-A239-B00ACBD2A41C}" type="parTrans" cxnId="{F33CB2CA-1AB6-4B41-ACEC-70149B37A6CC}">
      <dgm:prSet/>
      <dgm:spPr/>
      <dgm:t>
        <a:bodyPr/>
        <a:lstStyle/>
        <a:p>
          <a:endParaRPr lang="en-US"/>
        </a:p>
      </dgm:t>
    </dgm:pt>
    <dgm:pt modelId="{993EC587-4929-4010-A6BE-20373D4ABDAE}" type="sibTrans" cxnId="{F33CB2CA-1AB6-4B41-ACEC-70149B37A6CC}">
      <dgm:prSet/>
      <dgm:spPr/>
      <dgm:t>
        <a:bodyPr/>
        <a:lstStyle/>
        <a:p>
          <a:endParaRPr lang="en-US"/>
        </a:p>
      </dgm:t>
    </dgm:pt>
    <dgm:pt modelId="{3A25F396-3993-40C8-ACE1-6100753554C6}">
      <dgm:prSet/>
      <dgm:spPr/>
      <dgm:t>
        <a:bodyPr/>
        <a:lstStyle/>
        <a:p>
          <a:r>
            <a:rPr lang="en-US">
              <a:latin typeface="Segoe UI" panose="020B0502040204020203" pitchFamily="34" charset="0"/>
              <a:cs typeface="Segoe UI Light"/>
            </a:rPr>
            <a:t>Behavior of </a:t>
          </a:r>
          <a:r>
            <a:rPr lang="en-US" b="1">
              <a:latin typeface="Segoe UI" panose="020B0502040204020203" pitchFamily="34" charset="0"/>
              <a:cs typeface="Segoe UI Light"/>
            </a:rPr>
            <a:t>trap { }</a:t>
          </a:r>
        </a:p>
      </dgm:t>
    </dgm:pt>
    <dgm:pt modelId="{9F443CF8-BAD5-4D7B-8C3F-00C5B2AE8846}" type="parTrans" cxnId="{B0D103B2-7607-4880-AF30-065C2C18CF0D}">
      <dgm:prSet/>
      <dgm:spPr/>
      <dgm:t>
        <a:bodyPr/>
        <a:lstStyle/>
        <a:p>
          <a:endParaRPr lang="en-US"/>
        </a:p>
      </dgm:t>
    </dgm:pt>
    <dgm:pt modelId="{E68B217B-2C11-448A-B532-3BDBE2C3ACEB}" type="sibTrans" cxnId="{B0D103B2-7607-4880-AF30-065C2C18CF0D}">
      <dgm:prSet/>
      <dgm:spPr/>
      <dgm:t>
        <a:bodyPr/>
        <a:lstStyle/>
        <a:p>
          <a:endParaRPr lang="en-US"/>
        </a:p>
      </dgm:t>
    </dgm:pt>
    <dgm:pt modelId="{DFC8C568-FF11-4699-AEFE-46FE489A4FFE}">
      <dgm:prSet/>
      <dgm:spPr/>
      <dgm:t>
        <a:bodyPr/>
        <a:lstStyle/>
        <a:p>
          <a:r>
            <a:rPr lang="en-US" b="1" i="0" dirty="0">
              <a:latin typeface="+mn-lt"/>
              <a:cs typeface="Segoe UI Light"/>
            </a:rPr>
            <a:t>Default</a:t>
          </a:r>
          <a:r>
            <a:rPr lang="en-US" b="1" i="1" dirty="0">
              <a:latin typeface="+mn-lt"/>
              <a:cs typeface="Segoe UI Light"/>
            </a:rPr>
            <a:t> </a:t>
          </a:r>
          <a:r>
            <a:rPr lang="en-US" b="0" i="1" dirty="0">
              <a:latin typeface="+mn-lt"/>
              <a:cs typeface="Segoe UI Light"/>
            </a:rPr>
            <a:t>–</a:t>
          </a:r>
          <a:r>
            <a:rPr lang="en-US" b="1" i="1" dirty="0">
              <a:latin typeface="+mn-lt"/>
              <a:cs typeface="Segoe UI Light"/>
            </a:rPr>
            <a:t> </a:t>
          </a:r>
          <a:r>
            <a:rPr lang="en-US" b="1" i="0" dirty="0">
              <a:latin typeface="+mn-lt"/>
              <a:cs typeface="Segoe UI Light"/>
            </a:rPr>
            <a:t>Display</a:t>
          </a:r>
          <a:r>
            <a:rPr lang="en-US" b="0" i="0" dirty="0">
              <a:latin typeface="+mn-lt"/>
              <a:cs typeface="Segoe UI Light"/>
            </a:rPr>
            <a:t> message then </a:t>
          </a:r>
          <a:r>
            <a:rPr lang="en-US" b="1" i="0" dirty="0">
              <a:latin typeface="+mn-lt"/>
              <a:cs typeface="Segoe UI Light"/>
            </a:rPr>
            <a:t>continue</a:t>
          </a:r>
          <a:r>
            <a:rPr lang="en-US" b="0" i="0" dirty="0">
              <a:latin typeface="+mn-lt"/>
              <a:cs typeface="Segoe UI Light"/>
            </a:rPr>
            <a:t> execution</a:t>
          </a:r>
          <a:endParaRPr lang="en-US" b="0" dirty="0">
            <a:latin typeface="+mn-lt"/>
          </a:endParaRPr>
        </a:p>
      </dgm:t>
    </dgm:pt>
    <dgm:pt modelId="{A1488A11-3EB0-43EC-ADD8-CE32EAC799D1}" type="parTrans" cxnId="{A016E30E-1A39-474E-BF9E-0FDBB3C1C509}">
      <dgm:prSet/>
      <dgm:spPr/>
      <dgm:t>
        <a:bodyPr/>
        <a:lstStyle/>
        <a:p>
          <a:endParaRPr lang="en-US"/>
        </a:p>
      </dgm:t>
    </dgm:pt>
    <dgm:pt modelId="{627EABCD-1292-4970-B9FF-F0B08E5E2061}" type="sibTrans" cxnId="{A016E30E-1A39-474E-BF9E-0FDBB3C1C509}">
      <dgm:prSet/>
      <dgm:spPr/>
      <dgm:t>
        <a:bodyPr/>
        <a:lstStyle/>
        <a:p>
          <a:endParaRPr lang="en-US"/>
        </a:p>
      </dgm:t>
    </dgm:pt>
    <dgm:pt modelId="{212C391B-C1F8-42A7-848A-79294863685E}">
      <dgm:prSet/>
      <dgm:spPr/>
      <dgm:t>
        <a:bodyPr/>
        <a:lstStyle/>
        <a:p>
          <a:r>
            <a:rPr lang="en-US" dirty="0">
              <a:latin typeface="Segoe UI" panose="020B0502040204020203" pitchFamily="34" charset="0"/>
              <a:cs typeface="Segoe UI Light"/>
            </a:rPr>
            <a:t>Multiple </a:t>
          </a:r>
          <a:r>
            <a:rPr lang="en-US" b="1" dirty="0">
              <a:latin typeface="Segoe UI" panose="020B0502040204020203" pitchFamily="34" charset="0"/>
              <a:cs typeface="Segoe UI Light"/>
            </a:rPr>
            <a:t>trap { } </a:t>
          </a:r>
          <a:r>
            <a:rPr lang="en-US" b="0" dirty="0">
              <a:latin typeface="Segoe UI" panose="020B0502040204020203" pitchFamily="34" charset="0"/>
              <a:cs typeface="Segoe UI Light"/>
            </a:rPr>
            <a:t>blocks may be defined </a:t>
          </a:r>
          <a:endParaRPr lang="en-US" dirty="0">
            <a:latin typeface="Segoe UI" panose="020B0502040204020203" pitchFamily="34" charset="0"/>
            <a:cs typeface="Segoe UI Light"/>
          </a:endParaRPr>
        </a:p>
      </dgm:t>
    </dgm:pt>
    <dgm:pt modelId="{966FF3FE-24D6-4E76-BCDE-B3A840C14571}" type="parTrans" cxnId="{7D1711BD-7756-4424-B929-3A7A3C8A62D7}">
      <dgm:prSet/>
      <dgm:spPr/>
      <dgm:t>
        <a:bodyPr/>
        <a:lstStyle/>
        <a:p>
          <a:endParaRPr lang="en-US"/>
        </a:p>
      </dgm:t>
    </dgm:pt>
    <dgm:pt modelId="{B5E0595C-59B2-40C2-8F7B-FD6C3AEC1895}" type="sibTrans" cxnId="{7D1711BD-7756-4424-B929-3A7A3C8A62D7}">
      <dgm:prSet/>
      <dgm:spPr/>
      <dgm:t>
        <a:bodyPr/>
        <a:lstStyle/>
        <a:p>
          <a:endParaRPr lang="en-US"/>
        </a:p>
      </dgm:t>
    </dgm:pt>
    <dgm:pt modelId="{05C5CDF3-11BF-4C05-8AF9-34E8219BB158}">
      <dgm:prSet/>
      <dgm:spPr/>
      <dgm:t>
        <a:bodyPr/>
        <a:lstStyle/>
        <a:p>
          <a:r>
            <a:rPr lang="en-US" i="0" dirty="0"/>
            <a:t>Can handle </a:t>
          </a:r>
          <a:r>
            <a:rPr lang="en-US" b="1" i="0" dirty="0"/>
            <a:t>specific</a:t>
          </a:r>
          <a:r>
            <a:rPr lang="en-US" i="0" dirty="0"/>
            <a:t> exception types</a:t>
          </a:r>
        </a:p>
      </dgm:t>
    </dgm:pt>
    <dgm:pt modelId="{F78180E4-F399-4D48-BB4A-F07FB6EC49CD}" type="parTrans" cxnId="{02DC2D40-4661-43C4-AB7C-8BCA818E312E}">
      <dgm:prSet/>
      <dgm:spPr/>
      <dgm:t>
        <a:bodyPr/>
        <a:lstStyle/>
        <a:p>
          <a:endParaRPr lang="en-US"/>
        </a:p>
      </dgm:t>
    </dgm:pt>
    <dgm:pt modelId="{7E3AF8A3-9890-4B35-9DEA-15168505E864}" type="sibTrans" cxnId="{02DC2D40-4661-43C4-AB7C-8BCA818E312E}">
      <dgm:prSet/>
      <dgm:spPr/>
      <dgm:t>
        <a:bodyPr/>
        <a:lstStyle/>
        <a:p>
          <a:endParaRPr lang="en-US"/>
        </a:p>
      </dgm:t>
    </dgm:pt>
    <dgm:pt modelId="{B4EEDC0E-9BE4-4C10-81BE-C00A6BCF4F3D}">
      <dgm:prSet/>
      <dgm:spPr/>
      <dgm:t>
        <a:bodyPr/>
        <a:lstStyle/>
        <a:p>
          <a:r>
            <a:rPr lang="en-US" b="1" dirty="0">
              <a:latin typeface="+mn-lt"/>
            </a:rPr>
            <a:t>Break</a:t>
          </a:r>
          <a:r>
            <a:rPr lang="en-US" b="0" dirty="0">
              <a:latin typeface="+mn-lt"/>
            </a:rPr>
            <a:t> – </a:t>
          </a:r>
          <a:r>
            <a:rPr lang="en-US" b="1" i="0" dirty="0">
              <a:latin typeface="+mn-lt"/>
              <a:cs typeface="Segoe UI Light"/>
            </a:rPr>
            <a:t>Display</a:t>
          </a:r>
          <a:r>
            <a:rPr lang="en-US" b="0" dirty="0">
              <a:latin typeface="+mn-lt"/>
            </a:rPr>
            <a:t> </a:t>
          </a:r>
          <a:r>
            <a:rPr lang="en-US" b="0" i="0" dirty="0">
              <a:latin typeface="+mn-lt"/>
              <a:cs typeface="Segoe UI Light"/>
            </a:rPr>
            <a:t>message then</a:t>
          </a:r>
          <a:r>
            <a:rPr lang="en-US" b="0" dirty="0">
              <a:latin typeface="+mn-lt"/>
            </a:rPr>
            <a:t> </a:t>
          </a:r>
          <a:r>
            <a:rPr lang="en-US" b="1" dirty="0">
              <a:latin typeface="+mn-lt"/>
            </a:rPr>
            <a:t>stop</a:t>
          </a:r>
          <a:r>
            <a:rPr lang="en-US" b="0" dirty="0">
              <a:latin typeface="+mn-lt"/>
            </a:rPr>
            <a:t> execution</a:t>
          </a:r>
          <a:endParaRPr lang="en-US" b="1" dirty="0">
            <a:latin typeface="+mn-lt"/>
          </a:endParaRPr>
        </a:p>
      </dgm:t>
    </dgm:pt>
    <dgm:pt modelId="{E1F2798B-79DE-4534-8D50-D1EC1A3F0DAE}" type="parTrans" cxnId="{FA93D08D-160F-40BA-B6F0-36DC21833DE1}">
      <dgm:prSet/>
      <dgm:spPr/>
      <dgm:t>
        <a:bodyPr/>
        <a:lstStyle/>
        <a:p>
          <a:endParaRPr lang="en-US"/>
        </a:p>
      </dgm:t>
    </dgm:pt>
    <dgm:pt modelId="{FEF0F46E-9E76-4BA5-978C-AB829B07012D}" type="sibTrans" cxnId="{FA93D08D-160F-40BA-B6F0-36DC21833DE1}">
      <dgm:prSet/>
      <dgm:spPr/>
      <dgm:t>
        <a:bodyPr/>
        <a:lstStyle/>
        <a:p>
          <a:endParaRPr lang="en-US"/>
        </a:p>
      </dgm:t>
    </dgm:pt>
    <dgm:pt modelId="{770E2AAD-DFE2-442A-9D52-934DFD104122}">
      <dgm:prSet/>
      <dgm:spPr/>
      <dgm:t>
        <a:bodyPr/>
        <a:lstStyle/>
        <a:p>
          <a:r>
            <a:rPr lang="en-US" b="1" dirty="0">
              <a:latin typeface="+mn-lt"/>
            </a:rPr>
            <a:t>Continue </a:t>
          </a:r>
          <a:r>
            <a:rPr lang="en-US" b="0" dirty="0">
              <a:latin typeface="+mn-lt"/>
            </a:rPr>
            <a:t>– </a:t>
          </a:r>
          <a:r>
            <a:rPr lang="en-US" b="1" dirty="0">
              <a:latin typeface="+mn-lt"/>
            </a:rPr>
            <a:t>Hide</a:t>
          </a:r>
          <a:r>
            <a:rPr lang="en-US" b="0" dirty="0">
              <a:latin typeface="+mn-lt"/>
            </a:rPr>
            <a:t> </a:t>
          </a:r>
          <a:r>
            <a:rPr lang="en-US" b="0" i="0" dirty="0">
              <a:latin typeface="+mn-lt"/>
              <a:cs typeface="Segoe UI Light"/>
            </a:rPr>
            <a:t>message then</a:t>
          </a:r>
          <a:r>
            <a:rPr lang="en-US" b="0" dirty="0">
              <a:latin typeface="+mn-lt"/>
            </a:rPr>
            <a:t> </a:t>
          </a:r>
          <a:r>
            <a:rPr lang="en-US" b="1" dirty="0">
              <a:latin typeface="+mn-lt"/>
            </a:rPr>
            <a:t>continue</a:t>
          </a:r>
          <a:r>
            <a:rPr lang="en-US" b="0" dirty="0">
              <a:latin typeface="+mn-lt"/>
            </a:rPr>
            <a:t> execution</a:t>
          </a:r>
          <a:endParaRPr lang="en-US" b="1" dirty="0">
            <a:latin typeface="+mn-lt"/>
          </a:endParaRPr>
        </a:p>
      </dgm:t>
    </dgm:pt>
    <dgm:pt modelId="{9BF68416-EBA5-43EA-9937-DF29ECA5B55D}" type="parTrans" cxnId="{96595DBB-560C-4E85-81D6-31598F14DF5C}">
      <dgm:prSet/>
      <dgm:spPr/>
      <dgm:t>
        <a:bodyPr/>
        <a:lstStyle/>
        <a:p>
          <a:endParaRPr lang="en-US"/>
        </a:p>
      </dgm:t>
    </dgm:pt>
    <dgm:pt modelId="{9ED9A70D-D725-4CAF-A856-034D13168B2C}" type="sibTrans" cxnId="{96595DBB-560C-4E85-81D6-31598F14DF5C}">
      <dgm:prSet/>
      <dgm:spPr/>
      <dgm:t>
        <a:bodyPr/>
        <a:lstStyle/>
        <a:p>
          <a:endParaRPr lang="en-US"/>
        </a:p>
      </dgm:t>
    </dgm:pt>
    <dgm:pt modelId="{D0C577BB-E5F9-445C-BD3B-F381B7C97FF4}" type="pres">
      <dgm:prSet presAssocID="{47368D0B-0430-4A91-94E1-D0097F6BB4FA}" presName="linear" presStyleCnt="0">
        <dgm:presLayoutVars>
          <dgm:dir/>
          <dgm:animLvl val="lvl"/>
          <dgm:resizeHandles val="exact"/>
        </dgm:presLayoutVars>
      </dgm:prSet>
      <dgm:spPr/>
    </dgm:pt>
    <dgm:pt modelId="{A44D9DDE-CF71-4034-8896-26974EDE40D1}" type="pres">
      <dgm:prSet presAssocID="{017CA063-7EEA-489C-87A9-E2147DD0A5AD}" presName="parentLin" presStyleCnt="0"/>
      <dgm:spPr/>
    </dgm:pt>
    <dgm:pt modelId="{C9ABC32E-FA20-4FD9-B626-84F6E0E5394E}" type="pres">
      <dgm:prSet presAssocID="{017CA063-7EEA-489C-87A9-E2147DD0A5AD}" presName="parentLeftMargin" presStyleLbl="node1" presStyleIdx="0" presStyleCnt="2"/>
      <dgm:spPr/>
    </dgm:pt>
    <dgm:pt modelId="{18908422-52C7-4763-A1E3-9EBBF766EA6C}" type="pres">
      <dgm:prSet presAssocID="{017CA063-7EEA-489C-87A9-E2147DD0A5AD}" presName="parentText" presStyleLbl="node1" presStyleIdx="0" presStyleCnt="2">
        <dgm:presLayoutVars>
          <dgm:chMax val="0"/>
          <dgm:bulletEnabled val="1"/>
        </dgm:presLayoutVars>
      </dgm:prSet>
      <dgm:spPr/>
    </dgm:pt>
    <dgm:pt modelId="{271F75AF-6EB2-4929-9092-0B45139A2EFB}" type="pres">
      <dgm:prSet presAssocID="{017CA063-7EEA-489C-87A9-E2147DD0A5AD}" presName="negativeSpace" presStyleCnt="0"/>
      <dgm:spPr/>
    </dgm:pt>
    <dgm:pt modelId="{8EA12C17-EC0E-46D8-865F-F3EB1F3B3BC4}" type="pres">
      <dgm:prSet presAssocID="{017CA063-7EEA-489C-87A9-E2147DD0A5AD}" presName="childText" presStyleLbl="conFgAcc1" presStyleIdx="0" presStyleCnt="2">
        <dgm:presLayoutVars>
          <dgm:bulletEnabled val="1"/>
        </dgm:presLayoutVars>
      </dgm:prSet>
      <dgm:spPr/>
    </dgm:pt>
    <dgm:pt modelId="{B3B9499B-A840-4DAD-986F-A115F1A991CA}" type="pres">
      <dgm:prSet presAssocID="{BD1C0346-86D3-4E46-82D3-0636A98D6820}" presName="spaceBetweenRectangles" presStyleCnt="0"/>
      <dgm:spPr/>
    </dgm:pt>
    <dgm:pt modelId="{4D5C7F6A-4B34-48AA-AA56-1E179BD8322F}" type="pres">
      <dgm:prSet presAssocID="{3A25F396-3993-40C8-ACE1-6100753554C6}" presName="parentLin" presStyleCnt="0"/>
      <dgm:spPr/>
    </dgm:pt>
    <dgm:pt modelId="{ABF5CA3A-21E6-4F18-8DDD-997BE41D60D6}" type="pres">
      <dgm:prSet presAssocID="{3A25F396-3993-40C8-ACE1-6100753554C6}" presName="parentLeftMargin" presStyleLbl="node1" presStyleIdx="0" presStyleCnt="2"/>
      <dgm:spPr/>
    </dgm:pt>
    <dgm:pt modelId="{1DC53310-B5DA-4695-9569-31555EBDBBD7}" type="pres">
      <dgm:prSet presAssocID="{3A25F396-3993-40C8-ACE1-6100753554C6}" presName="parentText" presStyleLbl="node1" presStyleIdx="1" presStyleCnt="2">
        <dgm:presLayoutVars>
          <dgm:chMax val="0"/>
          <dgm:bulletEnabled val="1"/>
        </dgm:presLayoutVars>
      </dgm:prSet>
      <dgm:spPr/>
    </dgm:pt>
    <dgm:pt modelId="{0E952304-2A08-45BD-9DD1-3F620D3A1DA8}" type="pres">
      <dgm:prSet presAssocID="{3A25F396-3993-40C8-ACE1-6100753554C6}" presName="negativeSpace" presStyleCnt="0"/>
      <dgm:spPr/>
    </dgm:pt>
    <dgm:pt modelId="{96F16382-A0A0-48A6-9A21-D376A0191379}" type="pres">
      <dgm:prSet presAssocID="{3A25F396-3993-40C8-ACE1-6100753554C6}" presName="childText" presStyleLbl="conFgAcc1" presStyleIdx="1" presStyleCnt="2">
        <dgm:presLayoutVars>
          <dgm:bulletEnabled val="1"/>
        </dgm:presLayoutVars>
      </dgm:prSet>
      <dgm:spPr/>
    </dgm:pt>
  </dgm:ptLst>
  <dgm:cxnLst>
    <dgm:cxn modelId="{A016E30E-1A39-474E-BF9E-0FDBB3C1C509}" srcId="{3A25F396-3993-40C8-ACE1-6100753554C6}" destId="{DFC8C568-FF11-4699-AEFE-46FE489A4FFE}" srcOrd="0" destOrd="0" parTransId="{A1488A11-3EB0-43EC-ADD8-CE32EAC799D1}" sibTransId="{627EABCD-1292-4970-B9FF-F0B08E5E2061}"/>
    <dgm:cxn modelId="{2CB44E18-BB1B-4B64-81B1-437DA792FADB}" type="presOf" srcId="{1635F56D-E788-4300-B08E-66F105414E60}" destId="{8EA12C17-EC0E-46D8-865F-F3EB1F3B3BC4}" srcOrd="0" destOrd="0" presId="urn:microsoft.com/office/officeart/2005/8/layout/list1"/>
    <dgm:cxn modelId="{5547F923-64F5-4820-BA70-6569462043DD}" type="presOf" srcId="{017CA063-7EEA-489C-87A9-E2147DD0A5AD}" destId="{C9ABC32E-FA20-4FD9-B626-84F6E0E5394E}" srcOrd="0" destOrd="0" presId="urn:microsoft.com/office/officeart/2005/8/layout/list1"/>
    <dgm:cxn modelId="{770B3624-A034-40A4-A75B-F05FF89D7EA1}" type="presOf" srcId="{3A25F396-3993-40C8-ACE1-6100753554C6}" destId="{1DC53310-B5DA-4695-9569-31555EBDBBD7}" srcOrd="1" destOrd="0" presId="urn:microsoft.com/office/officeart/2005/8/layout/list1"/>
    <dgm:cxn modelId="{D4B01B33-29AC-4A20-89AF-9F2143B343C4}" type="presOf" srcId="{05C5CDF3-11BF-4C05-8AF9-34E8219BB158}" destId="{8EA12C17-EC0E-46D8-865F-F3EB1F3B3BC4}" srcOrd="0" destOrd="1" presId="urn:microsoft.com/office/officeart/2005/8/layout/list1"/>
    <dgm:cxn modelId="{02DC2D40-4661-43C4-AB7C-8BCA818E312E}" srcId="{017CA063-7EEA-489C-87A9-E2147DD0A5AD}" destId="{05C5CDF3-11BF-4C05-8AF9-34E8219BB158}" srcOrd="1" destOrd="0" parTransId="{F78180E4-F399-4D48-BB4A-F07FB6EC49CD}" sibTransId="{7E3AF8A3-9890-4B35-9DEA-15168505E864}"/>
    <dgm:cxn modelId="{C38A8E4D-6B6E-46FB-BDE3-9B19C9EBC51D}" type="presOf" srcId="{47368D0B-0430-4A91-94E1-D0097F6BB4FA}" destId="{D0C577BB-E5F9-445C-BD3B-F381B7C97FF4}" srcOrd="0" destOrd="0" presId="urn:microsoft.com/office/officeart/2005/8/layout/list1"/>
    <dgm:cxn modelId="{27388B70-3F24-45ED-AE22-CF9A1F9E0AC5}" srcId="{47368D0B-0430-4A91-94E1-D0097F6BB4FA}" destId="{017CA063-7EEA-489C-87A9-E2147DD0A5AD}" srcOrd="0" destOrd="0" parTransId="{E0B8EF2F-113F-4507-B8FC-3374D37646B0}" sibTransId="{BD1C0346-86D3-4E46-82D3-0636A98D6820}"/>
    <dgm:cxn modelId="{C1AA1D55-BC72-4FC1-ACBA-A7853C78D059}" type="presOf" srcId="{3A25F396-3993-40C8-ACE1-6100753554C6}" destId="{ABF5CA3A-21E6-4F18-8DDD-997BE41D60D6}" srcOrd="0" destOrd="0" presId="urn:microsoft.com/office/officeart/2005/8/layout/list1"/>
    <dgm:cxn modelId="{598BAE7D-20C2-4655-A179-5AEF8AC2EB38}" type="presOf" srcId="{DFC8C568-FF11-4699-AEFE-46FE489A4FFE}" destId="{96F16382-A0A0-48A6-9A21-D376A0191379}" srcOrd="0" destOrd="0" presId="urn:microsoft.com/office/officeart/2005/8/layout/list1"/>
    <dgm:cxn modelId="{FA93D08D-160F-40BA-B6F0-36DC21833DE1}" srcId="{3A25F396-3993-40C8-ACE1-6100753554C6}" destId="{B4EEDC0E-9BE4-4C10-81BE-C00A6BCF4F3D}" srcOrd="1" destOrd="0" parTransId="{E1F2798B-79DE-4534-8D50-D1EC1A3F0DAE}" sibTransId="{FEF0F46E-9E76-4BA5-978C-AB829B07012D}"/>
    <dgm:cxn modelId="{BEA2ADA6-938C-4173-B1DB-C952BC34545B}" type="presOf" srcId="{017CA063-7EEA-489C-87A9-E2147DD0A5AD}" destId="{18908422-52C7-4763-A1E3-9EBBF766EA6C}" srcOrd="1" destOrd="0" presId="urn:microsoft.com/office/officeart/2005/8/layout/list1"/>
    <dgm:cxn modelId="{B0D103B2-7607-4880-AF30-065C2C18CF0D}" srcId="{47368D0B-0430-4A91-94E1-D0097F6BB4FA}" destId="{3A25F396-3993-40C8-ACE1-6100753554C6}" srcOrd="1" destOrd="0" parTransId="{9F443CF8-BAD5-4D7B-8C3F-00C5B2AE8846}" sibTransId="{E68B217B-2C11-448A-B532-3BDBE2C3ACEB}"/>
    <dgm:cxn modelId="{96595DBB-560C-4E85-81D6-31598F14DF5C}" srcId="{3A25F396-3993-40C8-ACE1-6100753554C6}" destId="{770E2AAD-DFE2-442A-9D52-934DFD104122}" srcOrd="2" destOrd="0" parTransId="{9BF68416-EBA5-43EA-9937-DF29ECA5B55D}" sibTransId="{9ED9A70D-D725-4CAF-A856-034D13168B2C}"/>
    <dgm:cxn modelId="{7D1711BD-7756-4424-B929-3A7A3C8A62D7}" srcId="{017CA063-7EEA-489C-87A9-E2147DD0A5AD}" destId="{212C391B-C1F8-42A7-848A-79294863685E}" srcOrd="2" destOrd="0" parTransId="{966FF3FE-24D6-4E76-BCDE-B3A840C14571}" sibTransId="{B5E0595C-59B2-40C2-8F7B-FD6C3AEC1895}"/>
    <dgm:cxn modelId="{F33CB2CA-1AB6-4B41-ACEC-70149B37A6CC}" srcId="{017CA063-7EEA-489C-87A9-E2147DD0A5AD}" destId="{1635F56D-E788-4300-B08E-66F105414E60}" srcOrd="0" destOrd="0" parTransId="{58E16C08-E058-4264-A239-B00ACBD2A41C}" sibTransId="{993EC587-4929-4010-A6BE-20373D4ABDAE}"/>
    <dgm:cxn modelId="{BA815FCC-9B8A-4529-AEA9-2CDCDF3A75F3}" type="presOf" srcId="{212C391B-C1F8-42A7-848A-79294863685E}" destId="{8EA12C17-EC0E-46D8-865F-F3EB1F3B3BC4}" srcOrd="0" destOrd="2" presId="urn:microsoft.com/office/officeart/2005/8/layout/list1"/>
    <dgm:cxn modelId="{B6F2ABD0-D229-4AAB-A7F0-C65EFA273286}" type="presOf" srcId="{770E2AAD-DFE2-442A-9D52-934DFD104122}" destId="{96F16382-A0A0-48A6-9A21-D376A0191379}" srcOrd="0" destOrd="2" presId="urn:microsoft.com/office/officeart/2005/8/layout/list1"/>
    <dgm:cxn modelId="{9357ABD8-36C8-46D6-A2F5-A029F7979DA2}" type="presOf" srcId="{B4EEDC0E-9BE4-4C10-81BE-C00A6BCF4F3D}" destId="{96F16382-A0A0-48A6-9A21-D376A0191379}" srcOrd="0" destOrd="1" presId="urn:microsoft.com/office/officeart/2005/8/layout/list1"/>
    <dgm:cxn modelId="{0C497FA9-4C55-4EB2-AE00-BE3323DE8186}" type="presParOf" srcId="{D0C577BB-E5F9-445C-BD3B-F381B7C97FF4}" destId="{A44D9DDE-CF71-4034-8896-26974EDE40D1}" srcOrd="0" destOrd="0" presId="urn:microsoft.com/office/officeart/2005/8/layout/list1"/>
    <dgm:cxn modelId="{F285A9F4-E70A-472A-AE2C-A6D8932FA91D}" type="presParOf" srcId="{A44D9DDE-CF71-4034-8896-26974EDE40D1}" destId="{C9ABC32E-FA20-4FD9-B626-84F6E0E5394E}" srcOrd="0" destOrd="0" presId="urn:microsoft.com/office/officeart/2005/8/layout/list1"/>
    <dgm:cxn modelId="{CDCABEBA-5FEF-43A9-9FBC-470EF587900F}" type="presParOf" srcId="{A44D9DDE-CF71-4034-8896-26974EDE40D1}" destId="{18908422-52C7-4763-A1E3-9EBBF766EA6C}" srcOrd="1" destOrd="0" presId="urn:microsoft.com/office/officeart/2005/8/layout/list1"/>
    <dgm:cxn modelId="{1DF27405-905E-43D8-BD2D-A9DC4025E445}" type="presParOf" srcId="{D0C577BB-E5F9-445C-BD3B-F381B7C97FF4}" destId="{271F75AF-6EB2-4929-9092-0B45139A2EFB}" srcOrd="1" destOrd="0" presId="urn:microsoft.com/office/officeart/2005/8/layout/list1"/>
    <dgm:cxn modelId="{4593D336-A57F-4955-A0E9-BBD884D0071C}" type="presParOf" srcId="{D0C577BB-E5F9-445C-BD3B-F381B7C97FF4}" destId="{8EA12C17-EC0E-46D8-865F-F3EB1F3B3BC4}" srcOrd="2" destOrd="0" presId="urn:microsoft.com/office/officeart/2005/8/layout/list1"/>
    <dgm:cxn modelId="{238DF00F-20BC-4817-9F23-C61EE91A14EF}" type="presParOf" srcId="{D0C577BB-E5F9-445C-BD3B-F381B7C97FF4}" destId="{B3B9499B-A840-4DAD-986F-A115F1A991CA}" srcOrd="3" destOrd="0" presId="urn:microsoft.com/office/officeart/2005/8/layout/list1"/>
    <dgm:cxn modelId="{A4A1D039-E6DA-4CAF-B0D4-31859D5CFDF1}" type="presParOf" srcId="{D0C577BB-E5F9-445C-BD3B-F381B7C97FF4}" destId="{4D5C7F6A-4B34-48AA-AA56-1E179BD8322F}" srcOrd="4" destOrd="0" presId="urn:microsoft.com/office/officeart/2005/8/layout/list1"/>
    <dgm:cxn modelId="{C98EA3A1-C752-4923-8984-6A8FBDA2BB4B}" type="presParOf" srcId="{4D5C7F6A-4B34-48AA-AA56-1E179BD8322F}" destId="{ABF5CA3A-21E6-4F18-8DDD-997BE41D60D6}" srcOrd="0" destOrd="0" presId="urn:microsoft.com/office/officeart/2005/8/layout/list1"/>
    <dgm:cxn modelId="{6D992024-8A29-4105-9173-410190A6CF74}" type="presParOf" srcId="{4D5C7F6A-4B34-48AA-AA56-1E179BD8322F}" destId="{1DC53310-B5DA-4695-9569-31555EBDBBD7}" srcOrd="1" destOrd="0" presId="urn:microsoft.com/office/officeart/2005/8/layout/list1"/>
    <dgm:cxn modelId="{66279A74-79CE-4CE7-BB7D-892AC895449B}" type="presParOf" srcId="{D0C577BB-E5F9-445C-BD3B-F381B7C97FF4}" destId="{0E952304-2A08-45BD-9DD1-3F620D3A1DA8}" srcOrd="5" destOrd="0" presId="urn:microsoft.com/office/officeart/2005/8/layout/list1"/>
    <dgm:cxn modelId="{2E8FC5E2-B8EB-407F-9203-B5FA430A4045}" type="presParOf" srcId="{D0C577BB-E5F9-445C-BD3B-F381B7C97FF4}" destId="{96F16382-A0A0-48A6-9A21-D376A0191379}" srcOrd="6"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7368D0B-0430-4A91-94E1-D0097F6BB4F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17CA063-7EEA-489C-87A9-E2147DD0A5AD}">
      <dgm:prSet custT="1"/>
      <dgm:spPr>
        <a:solidFill>
          <a:srgbClr val="002060"/>
        </a:solidFill>
      </dgm:spPr>
      <dgm:t>
        <a:bodyPr/>
        <a:lstStyle/>
        <a:p>
          <a:r>
            <a:rPr lang="en-US" sz="2800" b="1">
              <a:latin typeface="Segoe UI" panose="020B0502040204020203" pitchFamily="34" charset="0"/>
              <a:cs typeface="Segoe UI Light"/>
            </a:rPr>
            <a:t>try { }</a:t>
          </a:r>
          <a:endParaRPr lang="en-US" sz="2800" b="1"/>
        </a:p>
      </dgm:t>
    </dgm:pt>
    <dgm:pt modelId="{E0B8EF2F-113F-4507-B8FC-3374D37646B0}" type="parTrans" cxnId="{27388B70-3F24-45ED-AE22-CF9A1F9E0AC5}">
      <dgm:prSet/>
      <dgm:spPr/>
      <dgm:t>
        <a:bodyPr/>
        <a:lstStyle/>
        <a:p>
          <a:endParaRPr lang="en-US"/>
        </a:p>
      </dgm:t>
    </dgm:pt>
    <dgm:pt modelId="{BD1C0346-86D3-4E46-82D3-0636A98D6820}" type="sibTrans" cxnId="{27388B70-3F24-45ED-AE22-CF9A1F9E0AC5}">
      <dgm:prSet/>
      <dgm:spPr/>
      <dgm:t>
        <a:bodyPr/>
        <a:lstStyle/>
        <a:p>
          <a:endParaRPr lang="en-US"/>
        </a:p>
      </dgm:t>
    </dgm:pt>
    <dgm:pt modelId="{1635F56D-E788-4300-B08E-66F105414E60}">
      <dgm:prSet custT="1"/>
      <dgm:spPr/>
      <dgm:t>
        <a:bodyPr/>
        <a:lstStyle/>
        <a:p>
          <a:pPr algn="l"/>
          <a:r>
            <a:rPr lang="en-US" sz="2000" i="0"/>
            <a:t>Creates code block to check for terminating errors</a:t>
          </a:r>
        </a:p>
      </dgm:t>
    </dgm:pt>
    <dgm:pt modelId="{58E16C08-E058-4264-A239-B00ACBD2A41C}" type="parTrans" cxnId="{F33CB2CA-1AB6-4B41-ACEC-70149B37A6CC}">
      <dgm:prSet/>
      <dgm:spPr/>
      <dgm:t>
        <a:bodyPr/>
        <a:lstStyle/>
        <a:p>
          <a:endParaRPr lang="en-US"/>
        </a:p>
      </dgm:t>
    </dgm:pt>
    <dgm:pt modelId="{993EC587-4929-4010-A6BE-20373D4ABDAE}" type="sibTrans" cxnId="{F33CB2CA-1AB6-4B41-ACEC-70149B37A6CC}">
      <dgm:prSet/>
      <dgm:spPr/>
      <dgm:t>
        <a:bodyPr/>
        <a:lstStyle/>
        <a:p>
          <a:endParaRPr lang="en-US"/>
        </a:p>
      </dgm:t>
    </dgm:pt>
    <dgm:pt modelId="{3A25F396-3993-40C8-ACE1-6100753554C6}">
      <dgm:prSet custT="1"/>
      <dgm:spPr>
        <a:solidFill>
          <a:srgbClr val="002060"/>
        </a:solidFill>
      </dgm:spPr>
      <dgm:t>
        <a:bodyPr/>
        <a:lstStyle/>
        <a:p>
          <a:r>
            <a:rPr lang="en-US" sz="2800" b="1">
              <a:latin typeface="Segoe UI" panose="020B0502040204020203" pitchFamily="34" charset="0"/>
              <a:cs typeface="Segoe UI Light"/>
            </a:rPr>
            <a:t>catch { }</a:t>
          </a:r>
        </a:p>
      </dgm:t>
    </dgm:pt>
    <dgm:pt modelId="{9F443CF8-BAD5-4D7B-8C3F-00C5B2AE8846}" type="parTrans" cxnId="{B0D103B2-7607-4880-AF30-065C2C18CF0D}">
      <dgm:prSet/>
      <dgm:spPr/>
      <dgm:t>
        <a:bodyPr/>
        <a:lstStyle/>
        <a:p>
          <a:endParaRPr lang="en-US"/>
        </a:p>
      </dgm:t>
    </dgm:pt>
    <dgm:pt modelId="{E68B217B-2C11-448A-B532-3BDBE2C3ACEB}" type="sibTrans" cxnId="{B0D103B2-7607-4880-AF30-065C2C18CF0D}">
      <dgm:prSet/>
      <dgm:spPr/>
      <dgm:t>
        <a:bodyPr/>
        <a:lstStyle/>
        <a:p>
          <a:endParaRPr lang="en-US"/>
        </a:p>
      </dgm:t>
    </dgm:pt>
    <dgm:pt modelId="{05C5CDF3-11BF-4C05-8AF9-34E8219BB158}">
      <dgm:prSet custT="1"/>
      <dgm:spPr/>
      <dgm:t>
        <a:bodyPr/>
        <a:lstStyle/>
        <a:p>
          <a:pPr algn="l"/>
          <a:r>
            <a:rPr lang="en-US" sz="2000" i="0"/>
            <a:t>Required to handle terminating errors</a:t>
          </a:r>
        </a:p>
      </dgm:t>
    </dgm:pt>
    <dgm:pt modelId="{F78180E4-F399-4D48-BB4A-F07FB6EC49CD}" type="parTrans" cxnId="{02DC2D40-4661-43C4-AB7C-8BCA818E312E}">
      <dgm:prSet/>
      <dgm:spPr/>
      <dgm:t>
        <a:bodyPr/>
        <a:lstStyle/>
        <a:p>
          <a:endParaRPr lang="en-US"/>
        </a:p>
      </dgm:t>
    </dgm:pt>
    <dgm:pt modelId="{7E3AF8A3-9890-4B35-9DEA-15168505E864}" type="sibTrans" cxnId="{02DC2D40-4661-43C4-AB7C-8BCA818E312E}">
      <dgm:prSet/>
      <dgm:spPr/>
      <dgm:t>
        <a:bodyPr/>
        <a:lstStyle/>
        <a:p>
          <a:endParaRPr lang="en-US"/>
        </a:p>
      </dgm:t>
    </dgm:pt>
    <dgm:pt modelId="{B4EEDC0E-9BE4-4C10-81BE-C00A6BCF4F3D}">
      <dgm:prSet custT="1"/>
      <dgm:spPr/>
      <dgm:t>
        <a:bodyPr/>
        <a:lstStyle/>
        <a:p>
          <a:r>
            <a:rPr lang="en-US" sz="2000" b="0"/>
            <a:t>Code to execute if terminating error occurs within </a:t>
          </a:r>
          <a:r>
            <a:rPr lang="en-US" sz="2000" b="1"/>
            <a:t>Try { } </a:t>
          </a:r>
          <a:r>
            <a:rPr lang="en-US" sz="2000" b="0"/>
            <a:t>block</a:t>
          </a:r>
        </a:p>
      </dgm:t>
    </dgm:pt>
    <dgm:pt modelId="{E1F2798B-79DE-4534-8D50-D1EC1A3F0DAE}" type="parTrans" cxnId="{FA93D08D-160F-40BA-B6F0-36DC21833DE1}">
      <dgm:prSet/>
      <dgm:spPr/>
      <dgm:t>
        <a:bodyPr/>
        <a:lstStyle/>
        <a:p>
          <a:endParaRPr lang="en-US"/>
        </a:p>
      </dgm:t>
    </dgm:pt>
    <dgm:pt modelId="{FEF0F46E-9E76-4BA5-978C-AB829B07012D}" type="sibTrans" cxnId="{FA93D08D-160F-40BA-B6F0-36DC21833DE1}">
      <dgm:prSet/>
      <dgm:spPr/>
      <dgm:t>
        <a:bodyPr/>
        <a:lstStyle/>
        <a:p>
          <a:endParaRPr lang="en-US"/>
        </a:p>
      </dgm:t>
    </dgm:pt>
    <dgm:pt modelId="{770E2AAD-DFE2-442A-9D52-934DFD104122}">
      <dgm:prSet custT="1"/>
      <dgm:spPr/>
      <dgm:t>
        <a:bodyPr/>
        <a:lstStyle/>
        <a:p>
          <a:r>
            <a:rPr lang="en-US" sz="2000" b="0"/>
            <a:t>Can be for all or specific exception types</a:t>
          </a:r>
        </a:p>
      </dgm:t>
    </dgm:pt>
    <dgm:pt modelId="{9BF68416-EBA5-43EA-9937-DF29ECA5B55D}" type="parTrans" cxnId="{96595DBB-560C-4E85-81D6-31598F14DF5C}">
      <dgm:prSet/>
      <dgm:spPr/>
      <dgm:t>
        <a:bodyPr/>
        <a:lstStyle/>
        <a:p>
          <a:endParaRPr lang="en-US"/>
        </a:p>
      </dgm:t>
    </dgm:pt>
    <dgm:pt modelId="{9ED9A70D-D725-4CAF-A856-034D13168B2C}" type="sibTrans" cxnId="{96595DBB-560C-4E85-81D6-31598F14DF5C}">
      <dgm:prSet/>
      <dgm:spPr/>
      <dgm:t>
        <a:bodyPr/>
        <a:lstStyle/>
        <a:p>
          <a:endParaRPr lang="en-US"/>
        </a:p>
      </dgm:t>
    </dgm:pt>
    <dgm:pt modelId="{FBB96376-8B42-406A-9D47-7D7115A25F57}">
      <dgm:prSet custT="1"/>
      <dgm:spPr>
        <a:solidFill>
          <a:srgbClr val="002060"/>
        </a:solidFill>
      </dgm:spPr>
      <dgm:t>
        <a:bodyPr/>
        <a:lstStyle/>
        <a:p>
          <a:r>
            <a:rPr lang="en-US" sz="2800" b="1"/>
            <a:t>finally { }</a:t>
          </a:r>
        </a:p>
      </dgm:t>
    </dgm:pt>
    <dgm:pt modelId="{3417013F-719D-4A31-B1C3-E6DB9D87DCD0}" type="parTrans" cxnId="{275692A9-EE39-4F5E-8684-EDFA0161983B}">
      <dgm:prSet/>
      <dgm:spPr/>
      <dgm:t>
        <a:bodyPr/>
        <a:lstStyle/>
        <a:p>
          <a:endParaRPr lang="en-US"/>
        </a:p>
      </dgm:t>
    </dgm:pt>
    <dgm:pt modelId="{9AA79446-3501-4F02-B483-EA6C317EDE2A}" type="sibTrans" cxnId="{275692A9-EE39-4F5E-8684-EDFA0161983B}">
      <dgm:prSet/>
      <dgm:spPr/>
      <dgm:t>
        <a:bodyPr/>
        <a:lstStyle/>
        <a:p>
          <a:endParaRPr lang="en-US"/>
        </a:p>
      </dgm:t>
    </dgm:pt>
    <dgm:pt modelId="{6C3C79A1-AFD6-4325-ACDB-CC2E7DC636A4}">
      <dgm:prSet custT="1"/>
      <dgm:spPr/>
      <dgm:t>
        <a:bodyPr/>
        <a:lstStyle/>
        <a:p>
          <a:r>
            <a:rPr lang="en-US" sz="2000" b="0"/>
            <a:t>Optional block guaranteed to run regardless if error occurred</a:t>
          </a:r>
        </a:p>
      </dgm:t>
    </dgm:pt>
    <dgm:pt modelId="{5EB7EA9C-7616-4DAC-8AA1-D755A21D525B}" type="parTrans" cxnId="{6DDE07D5-6D56-4C6F-B37B-52834B2E60F1}">
      <dgm:prSet/>
      <dgm:spPr/>
      <dgm:t>
        <a:bodyPr/>
        <a:lstStyle/>
        <a:p>
          <a:endParaRPr lang="en-US"/>
        </a:p>
      </dgm:t>
    </dgm:pt>
    <dgm:pt modelId="{3AC0DA19-FDB0-44F6-A97D-0EB3D7874EA1}" type="sibTrans" cxnId="{6DDE07D5-6D56-4C6F-B37B-52834B2E60F1}">
      <dgm:prSet/>
      <dgm:spPr/>
      <dgm:t>
        <a:bodyPr/>
        <a:lstStyle/>
        <a:p>
          <a:endParaRPr lang="en-US"/>
        </a:p>
      </dgm:t>
    </dgm:pt>
    <dgm:pt modelId="{A0729587-10B0-4EFE-A34A-44B0888C674A}">
      <dgm:prSet custT="1"/>
      <dgm:spPr/>
      <dgm:t>
        <a:bodyPr/>
        <a:lstStyle/>
        <a:p>
          <a:pPr algn="l"/>
          <a:endParaRPr lang="en-US" sz="2000" i="0"/>
        </a:p>
      </dgm:t>
    </dgm:pt>
    <dgm:pt modelId="{D7E1B271-A9D5-429C-9CA5-2C5141A88106}" type="parTrans" cxnId="{84FBEAC4-C574-4937-A53A-FC263D2736DC}">
      <dgm:prSet/>
      <dgm:spPr/>
      <dgm:t>
        <a:bodyPr/>
        <a:lstStyle/>
        <a:p>
          <a:endParaRPr lang="en-US"/>
        </a:p>
      </dgm:t>
    </dgm:pt>
    <dgm:pt modelId="{168EBC07-AC86-462F-9A0A-1EB196244924}" type="sibTrans" cxnId="{84FBEAC4-C574-4937-A53A-FC263D2736DC}">
      <dgm:prSet/>
      <dgm:spPr/>
      <dgm:t>
        <a:bodyPr/>
        <a:lstStyle/>
        <a:p>
          <a:endParaRPr lang="en-US"/>
        </a:p>
      </dgm:t>
    </dgm:pt>
    <dgm:pt modelId="{15A78FC3-5606-4EFD-B37A-1F047CD786EA}">
      <dgm:prSet custT="1"/>
      <dgm:spPr/>
      <dgm:t>
        <a:bodyPr/>
        <a:lstStyle/>
        <a:p>
          <a:pPr algn="l"/>
          <a:endParaRPr lang="en-US" sz="2000" i="0"/>
        </a:p>
      </dgm:t>
    </dgm:pt>
    <dgm:pt modelId="{20C69D42-E31B-4D25-8C14-E6680EDC41C1}" type="parTrans" cxnId="{B03B2F2C-0386-44DF-B685-FD42DA773FA7}">
      <dgm:prSet/>
      <dgm:spPr/>
      <dgm:t>
        <a:bodyPr/>
        <a:lstStyle/>
        <a:p>
          <a:endParaRPr lang="en-US"/>
        </a:p>
      </dgm:t>
    </dgm:pt>
    <dgm:pt modelId="{F88DD4AE-0657-4662-A5CD-5450419474A4}" type="sibTrans" cxnId="{B03B2F2C-0386-44DF-B685-FD42DA773FA7}">
      <dgm:prSet/>
      <dgm:spPr/>
      <dgm:t>
        <a:bodyPr/>
        <a:lstStyle/>
        <a:p>
          <a:endParaRPr lang="en-US"/>
        </a:p>
      </dgm:t>
    </dgm:pt>
    <dgm:pt modelId="{F476A723-4E68-4D50-808F-FE929FCFCDCE}">
      <dgm:prSet custT="1"/>
      <dgm:spPr/>
      <dgm:t>
        <a:bodyPr/>
        <a:lstStyle/>
        <a:p>
          <a:r>
            <a:rPr lang="en-US" sz="2000" b="0"/>
            <a:t>Useful for cleanup code</a:t>
          </a:r>
        </a:p>
      </dgm:t>
    </dgm:pt>
    <dgm:pt modelId="{78784BF3-817F-41ED-9817-4D7B69F8AB95}" type="parTrans" cxnId="{2AAEE2D0-6985-4C40-B39E-E4588C4ACF92}">
      <dgm:prSet/>
      <dgm:spPr/>
      <dgm:t>
        <a:bodyPr/>
        <a:lstStyle/>
        <a:p>
          <a:endParaRPr lang="en-US"/>
        </a:p>
      </dgm:t>
    </dgm:pt>
    <dgm:pt modelId="{D3DFB5EB-984F-4354-A50D-33C8373E8353}" type="sibTrans" cxnId="{2AAEE2D0-6985-4C40-B39E-E4588C4ACF92}">
      <dgm:prSet/>
      <dgm:spPr/>
      <dgm:t>
        <a:bodyPr/>
        <a:lstStyle/>
        <a:p>
          <a:endParaRPr lang="en-US"/>
        </a:p>
      </dgm:t>
    </dgm:pt>
    <dgm:pt modelId="{405E7669-9AA8-4503-BFAA-A338A7DEC9AF}">
      <dgm:prSet custT="1"/>
      <dgm:spPr/>
      <dgm:t>
        <a:bodyPr/>
        <a:lstStyle/>
        <a:p>
          <a:pPr algn="l"/>
          <a:r>
            <a:rPr lang="en-US" sz="2000" b="0"/>
            <a:t>Must also have at least one </a:t>
          </a:r>
          <a:r>
            <a:rPr lang="en-US" sz="2000" b="1"/>
            <a:t>catch {} </a:t>
          </a:r>
          <a:r>
            <a:rPr lang="en-US" sz="2000" b="0"/>
            <a:t>OR </a:t>
          </a:r>
          <a:r>
            <a:rPr lang="en-US" sz="2000" b="1"/>
            <a:t>finally {}</a:t>
          </a:r>
          <a:r>
            <a:rPr lang="en-US" sz="2000" b="0"/>
            <a:t> block</a:t>
          </a:r>
          <a:endParaRPr lang="en-US" sz="2000" i="0"/>
        </a:p>
      </dgm:t>
    </dgm:pt>
    <dgm:pt modelId="{D5B7BD6B-ED29-4FC3-8F63-BE003EE17C57}" type="parTrans" cxnId="{59A6D749-AB03-44C6-8217-4F7FE0E03435}">
      <dgm:prSet/>
      <dgm:spPr/>
      <dgm:t>
        <a:bodyPr/>
        <a:lstStyle/>
        <a:p>
          <a:endParaRPr lang="en-US"/>
        </a:p>
      </dgm:t>
    </dgm:pt>
    <dgm:pt modelId="{A1B9BEB0-A3AD-4A50-8A11-DCD0B22A4849}" type="sibTrans" cxnId="{59A6D749-AB03-44C6-8217-4F7FE0E03435}">
      <dgm:prSet/>
      <dgm:spPr/>
      <dgm:t>
        <a:bodyPr/>
        <a:lstStyle/>
        <a:p>
          <a:endParaRPr lang="en-US"/>
        </a:p>
      </dgm:t>
    </dgm:pt>
    <dgm:pt modelId="{D8C99122-7F0E-4E34-A73A-D8DF3C0F33CF}">
      <dgm:prSet custT="1"/>
      <dgm:spPr/>
      <dgm:t>
        <a:bodyPr/>
        <a:lstStyle/>
        <a:p>
          <a:r>
            <a:rPr lang="en-US" sz="2000" b="0"/>
            <a:t>Defined most specific </a:t>
          </a:r>
          <a:r>
            <a:rPr lang="en-US" sz="2000" b="1"/>
            <a:t>catch { } </a:t>
          </a:r>
          <a:r>
            <a:rPr lang="en-US" sz="2000" b="0"/>
            <a:t>exception</a:t>
          </a:r>
          <a:r>
            <a:rPr lang="en-US" sz="2000" b="1"/>
            <a:t> </a:t>
          </a:r>
          <a:r>
            <a:rPr lang="en-US" sz="2000" b="0"/>
            <a:t>type to least specific</a:t>
          </a:r>
        </a:p>
      </dgm:t>
    </dgm:pt>
    <dgm:pt modelId="{959C998E-BE11-4A10-A909-22A091AFAD5F}" type="parTrans" cxnId="{708F21D5-8EA1-466F-BEA0-E0927DAA106C}">
      <dgm:prSet/>
      <dgm:spPr/>
      <dgm:t>
        <a:bodyPr/>
        <a:lstStyle/>
        <a:p>
          <a:endParaRPr lang="en-US"/>
        </a:p>
      </dgm:t>
    </dgm:pt>
    <dgm:pt modelId="{CA44D500-B94F-4494-8726-DFE7D70CFBC8}" type="sibTrans" cxnId="{708F21D5-8EA1-466F-BEA0-E0927DAA106C}">
      <dgm:prSet/>
      <dgm:spPr/>
      <dgm:t>
        <a:bodyPr/>
        <a:lstStyle/>
        <a:p>
          <a:endParaRPr lang="en-US"/>
        </a:p>
      </dgm:t>
    </dgm:pt>
    <dgm:pt modelId="{5D0FBEF5-2806-4BBD-8592-70D43A3F9C38}" type="pres">
      <dgm:prSet presAssocID="{47368D0B-0430-4A91-94E1-D0097F6BB4FA}" presName="linear" presStyleCnt="0">
        <dgm:presLayoutVars>
          <dgm:animLvl val="lvl"/>
          <dgm:resizeHandles val="exact"/>
        </dgm:presLayoutVars>
      </dgm:prSet>
      <dgm:spPr/>
    </dgm:pt>
    <dgm:pt modelId="{9293F5D5-11A7-4EBD-AB2A-32B587777418}" type="pres">
      <dgm:prSet presAssocID="{017CA063-7EEA-489C-87A9-E2147DD0A5AD}" presName="parentText" presStyleLbl="node1" presStyleIdx="0" presStyleCnt="3" custScaleY="53527" custLinFactNeighborX="-423" custLinFactNeighborY="-38879">
        <dgm:presLayoutVars>
          <dgm:chMax val="0"/>
          <dgm:bulletEnabled val="1"/>
        </dgm:presLayoutVars>
      </dgm:prSet>
      <dgm:spPr/>
    </dgm:pt>
    <dgm:pt modelId="{7AF8DD4D-1DF9-4453-B18B-6722014DB2E3}" type="pres">
      <dgm:prSet presAssocID="{017CA063-7EEA-489C-87A9-E2147DD0A5AD}" presName="childText" presStyleLbl="revTx" presStyleIdx="0" presStyleCnt="3" custScaleY="69527" custLinFactNeighborY="-717">
        <dgm:presLayoutVars>
          <dgm:bulletEnabled val="1"/>
        </dgm:presLayoutVars>
      </dgm:prSet>
      <dgm:spPr/>
    </dgm:pt>
    <dgm:pt modelId="{4629E081-81D2-4582-A2BA-742FDD6A68FE}" type="pres">
      <dgm:prSet presAssocID="{3A25F396-3993-40C8-ACE1-6100753554C6}" presName="parentText" presStyleLbl="node1" presStyleIdx="1" presStyleCnt="3" custScaleY="49642" custLinFactNeighborY="-7075">
        <dgm:presLayoutVars>
          <dgm:chMax val="0"/>
          <dgm:bulletEnabled val="1"/>
        </dgm:presLayoutVars>
      </dgm:prSet>
      <dgm:spPr/>
    </dgm:pt>
    <dgm:pt modelId="{00CCB998-6F0D-472D-B2FF-CA60FBDBEED4}" type="pres">
      <dgm:prSet presAssocID="{3A25F396-3993-40C8-ACE1-6100753554C6}" presName="childText" presStyleLbl="revTx" presStyleIdx="1" presStyleCnt="3" custLinFactNeighborX="423" custLinFactNeighborY="-5568">
        <dgm:presLayoutVars>
          <dgm:bulletEnabled val="1"/>
        </dgm:presLayoutVars>
      </dgm:prSet>
      <dgm:spPr/>
    </dgm:pt>
    <dgm:pt modelId="{8C72B1E5-DE73-457E-BF56-2A021CC26A8E}" type="pres">
      <dgm:prSet presAssocID="{FBB96376-8B42-406A-9D47-7D7115A25F57}" presName="parentText" presStyleLbl="node1" presStyleIdx="2" presStyleCnt="3" custScaleY="52777" custLinFactNeighborY="4245">
        <dgm:presLayoutVars>
          <dgm:chMax val="0"/>
          <dgm:bulletEnabled val="1"/>
        </dgm:presLayoutVars>
      </dgm:prSet>
      <dgm:spPr/>
    </dgm:pt>
    <dgm:pt modelId="{A091F526-CEEB-4D25-849F-B0D4D482EAB9}" type="pres">
      <dgm:prSet presAssocID="{FBB96376-8B42-406A-9D47-7D7115A25F57}" presName="childText" presStyleLbl="revTx" presStyleIdx="2" presStyleCnt="3" custLinFactNeighborY="17465">
        <dgm:presLayoutVars>
          <dgm:bulletEnabled val="1"/>
        </dgm:presLayoutVars>
      </dgm:prSet>
      <dgm:spPr/>
    </dgm:pt>
  </dgm:ptLst>
  <dgm:cxnLst>
    <dgm:cxn modelId="{DC6A170D-D831-40FF-BA16-6729DF98559E}" type="presOf" srcId="{3A25F396-3993-40C8-ACE1-6100753554C6}" destId="{4629E081-81D2-4582-A2BA-742FDD6A68FE}" srcOrd="0" destOrd="0" presId="urn:microsoft.com/office/officeart/2005/8/layout/vList2"/>
    <dgm:cxn modelId="{57133C1C-8013-4E3A-B3AC-73C580A799DA}" type="presOf" srcId="{1635F56D-E788-4300-B08E-66F105414E60}" destId="{7AF8DD4D-1DF9-4453-B18B-6722014DB2E3}" srcOrd="0" destOrd="0" presId="urn:microsoft.com/office/officeart/2005/8/layout/vList2"/>
    <dgm:cxn modelId="{218E3E26-CFED-404A-A21C-1D68ECC396D1}" type="presOf" srcId="{05C5CDF3-11BF-4C05-8AF9-34E8219BB158}" destId="{7AF8DD4D-1DF9-4453-B18B-6722014DB2E3}" srcOrd="0" destOrd="1" presId="urn:microsoft.com/office/officeart/2005/8/layout/vList2"/>
    <dgm:cxn modelId="{B03B2F2C-0386-44DF-B685-FD42DA773FA7}" srcId="{017CA063-7EEA-489C-87A9-E2147DD0A5AD}" destId="{15A78FC3-5606-4EFD-B37A-1F047CD786EA}" srcOrd="3" destOrd="0" parTransId="{20C69D42-E31B-4D25-8C14-E6680EDC41C1}" sibTransId="{F88DD4AE-0657-4662-A5CD-5450419474A4}"/>
    <dgm:cxn modelId="{4DE00232-B8B9-4984-BD9A-3698BEE6BB6C}" type="presOf" srcId="{47368D0B-0430-4A91-94E1-D0097F6BB4FA}" destId="{5D0FBEF5-2806-4BBD-8592-70D43A3F9C38}" srcOrd="0" destOrd="0" presId="urn:microsoft.com/office/officeart/2005/8/layout/vList2"/>
    <dgm:cxn modelId="{02DC2D40-4661-43C4-AB7C-8BCA818E312E}" srcId="{017CA063-7EEA-489C-87A9-E2147DD0A5AD}" destId="{05C5CDF3-11BF-4C05-8AF9-34E8219BB158}" srcOrd="1" destOrd="0" parTransId="{F78180E4-F399-4D48-BB4A-F07FB6EC49CD}" sibTransId="{7E3AF8A3-9890-4B35-9DEA-15168505E864}"/>
    <dgm:cxn modelId="{59A6D749-AB03-44C6-8217-4F7FE0E03435}" srcId="{017CA063-7EEA-489C-87A9-E2147DD0A5AD}" destId="{405E7669-9AA8-4503-BFAA-A338A7DEC9AF}" srcOrd="2" destOrd="0" parTransId="{D5B7BD6B-ED29-4FC3-8F63-BE003EE17C57}" sibTransId="{A1B9BEB0-A3AD-4A50-8A11-DCD0B22A4849}"/>
    <dgm:cxn modelId="{018F0350-E949-4F07-8651-FD6BAAD2EC02}" type="presOf" srcId="{770E2AAD-DFE2-442A-9D52-934DFD104122}" destId="{00CCB998-6F0D-472D-B2FF-CA60FBDBEED4}" srcOrd="0" destOrd="1" presId="urn:microsoft.com/office/officeart/2005/8/layout/vList2"/>
    <dgm:cxn modelId="{27388B70-3F24-45ED-AE22-CF9A1F9E0AC5}" srcId="{47368D0B-0430-4A91-94E1-D0097F6BB4FA}" destId="{017CA063-7EEA-489C-87A9-E2147DD0A5AD}" srcOrd="0" destOrd="0" parTransId="{E0B8EF2F-113F-4507-B8FC-3374D37646B0}" sibTransId="{BD1C0346-86D3-4E46-82D3-0636A98D6820}"/>
    <dgm:cxn modelId="{92CDAA75-43AE-4119-98B7-33D927458EA3}" type="presOf" srcId="{B4EEDC0E-9BE4-4C10-81BE-C00A6BCF4F3D}" destId="{00CCB998-6F0D-472D-B2FF-CA60FBDBEED4}" srcOrd="0" destOrd="0" presId="urn:microsoft.com/office/officeart/2005/8/layout/vList2"/>
    <dgm:cxn modelId="{DD44807D-1D47-468A-83AB-BFEBED8DD1E7}" type="presOf" srcId="{017CA063-7EEA-489C-87A9-E2147DD0A5AD}" destId="{9293F5D5-11A7-4EBD-AB2A-32B587777418}" srcOrd="0" destOrd="0" presId="urn:microsoft.com/office/officeart/2005/8/layout/vList2"/>
    <dgm:cxn modelId="{32263687-22D2-47BC-ABDD-EC30009741F8}" type="presOf" srcId="{6C3C79A1-AFD6-4325-ACDB-CC2E7DC636A4}" destId="{A091F526-CEEB-4D25-849F-B0D4D482EAB9}" srcOrd="0" destOrd="0" presId="urn:microsoft.com/office/officeart/2005/8/layout/vList2"/>
    <dgm:cxn modelId="{1D88788A-876D-4259-AA40-A3B7328556BE}" type="presOf" srcId="{405E7669-9AA8-4503-BFAA-A338A7DEC9AF}" destId="{7AF8DD4D-1DF9-4453-B18B-6722014DB2E3}" srcOrd="0" destOrd="2" presId="urn:microsoft.com/office/officeart/2005/8/layout/vList2"/>
    <dgm:cxn modelId="{FA93D08D-160F-40BA-B6F0-36DC21833DE1}" srcId="{3A25F396-3993-40C8-ACE1-6100753554C6}" destId="{B4EEDC0E-9BE4-4C10-81BE-C00A6BCF4F3D}" srcOrd="0" destOrd="0" parTransId="{E1F2798B-79DE-4534-8D50-D1EC1A3F0DAE}" sibTransId="{FEF0F46E-9E76-4BA5-978C-AB829B07012D}"/>
    <dgm:cxn modelId="{A72106A8-42DC-4054-9982-F56DE7FF07EA}" type="presOf" srcId="{D8C99122-7F0E-4E34-A73A-D8DF3C0F33CF}" destId="{00CCB998-6F0D-472D-B2FF-CA60FBDBEED4}" srcOrd="0" destOrd="2" presId="urn:microsoft.com/office/officeart/2005/8/layout/vList2"/>
    <dgm:cxn modelId="{275692A9-EE39-4F5E-8684-EDFA0161983B}" srcId="{47368D0B-0430-4A91-94E1-D0097F6BB4FA}" destId="{FBB96376-8B42-406A-9D47-7D7115A25F57}" srcOrd="2" destOrd="0" parTransId="{3417013F-719D-4A31-B1C3-E6DB9D87DCD0}" sibTransId="{9AA79446-3501-4F02-B483-EA6C317EDE2A}"/>
    <dgm:cxn modelId="{B0D103B2-7607-4880-AF30-065C2C18CF0D}" srcId="{47368D0B-0430-4A91-94E1-D0097F6BB4FA}" destId="{3A25F396-3993-40C8-ACE1-6100753554C6}" srcOrd="1" destOrd="0" parTransId="{9F443CF8-BAD5-4D7B-8C3F-00C5B2AE8846}" sibTransId="{E68B217B-2C11-448A-B532-3BDBE2C3ACEB}"/>
    <dgm:cxn modelId="{F38439B4-7E7A-493F-9AC6-922069356D88}" type="presOf" srcId="{A0729587-10B0-4EFE-A34A-44B0888C674A}" destId="{7AF8DD4D-1DF9-4453-B18B-6722014DB2E3}" srcOrd="0" destOrd="4" presId="urn:microsoft.com/office/officeart/2005/8/layout/vList2"/>
    <dgm:cxn modelId="{96595DBB-560C-4E85-81D6-31598F14DF5C}" srcId="{3A25F396-3993-40C8-ACE1-6100753554C6}" destId="{770E2AAD-DFE2-442A-9D52-934DFD104122}" srcOrd="1" destOrd="0" parTransId="{9BF68416-EBA5-43EA-9937-DF29ECA5B55D}" sibTransId="{9ED9A70D-D725-4CAF-A856-034D13168B2C}"/>
    <dgm:cxn modelId="{1AFB9DC4-28AB-4CAA-BBEE-F10F0E97E846}" type="presOf" srcId="{15A78FC3-5606-4EFD-B37A-1F047CD786EA}" destId="{7AF8DD4D-1DF9-4453-B18B-6722014DB2E3}" srcOrd="0" destOrd="3" presId="urn:microsoft.com/office/officeart/2005/8/layout/vList2"/>
    <dgm:cxn modelId="{84FBEAC4-C574-4937-A53A-FC263D2736DC}" srcId="{017CA063-7EEA-489C-87A9-E2147DD0A5AD}" destId="{A0729587-10B0-4EFE-A34A-44B0888C674A}" srcOrd="4" destOrd="0" parTransId="{D7E1B271-A9D5-429C-9CA5-2C5141A88106}" sibTransId="{168EBC07-AC86-462F-9A0A-1EB196244924}"/>
    <dgm:cxn modelId="{F33CB2CA-1AB6-4B41-ACEC-70149B37A6CC}" srcId="{017CA063-7EEA-489C-87A9-E2147DD0A5AD}" destId="{1635F56D-E788-4300-B08E-66F105414E60}" srcOrd="0" destOrd="0" parTransId="{58E16C08-E058-4264-A239-B00ACBD2A41C}" sibTransId="{993EC587-4929-4010-A6BE-20373D4ABDAE}"/>
    <dgm:cxn modelId="{8D9608CE-ED52-4DE8-BF0C-FAC657DED75B}" type="presOf" srcId="{F476A723-4E68-4D50-808F-FE929FCFCDCE}" destId="{A091F526-CEEB-4D25-849F-B0D4D482EAB9}" srcOrd="0" destOrd="1" presId="urn:microsoft.com/office/officeart/2005/8/layout/vList2"/>
    <dgm:cxn modelId="{2AAEE2D0-6985-4C40-B39E-E4588C4ACF92}" srcId="{FBB96376-8B42-406A-9D47-7D7115A25F57}" destId="{F476A723-4E68-4D50-808F-FE929FCFCDCE}" srcOrd="1" destOrd="0" parTransId="{78784BF3-817F-41ED-9817-4D7B69F8AB95}" sibTransId="{D3DFB5EB-984F-4354-A50D-33C8373E8353}"/>
    <dgm:cxn modelId="{6DDE07D5-6D56-4C6F-B37B-52834B2E60F1}" srcId="{FBB96376-8B42-406A-9D47-7D7115A25F57}" destId="{6C3C79A1-AFD6-4325-ACDB-CC2E7DC636A4}" srcOrd="0" destOrd="0" parTransId="{5EB7EA9C-7616-4DAC-8AA1-D755A21D525B}" sibTransId="{3AC0DA19-FDB0-44F6-A97D-0EB3D7874EA1}"/>
    <dgm:cxn modelId="{708F21D5-8EA1-466F-BEA0-E0927DAA106C}" srcId="{3A25F396-3993-40C8-ACE1-6100753554C6}" destId="{D8C99122-7F0E-4E34-A73A-D8DF3C0F33CF}" srcOrd="2" destOrd="0" parTransId="{959C998E-BE11-4A10-A909-22A091AFAD5F}" sibTransId="{CA44D500-B94F-4494-8726-DFE7D70CFBC8}"/>
    <dgm:cxn modelId="{23A5E6F1-D4E2-4EAD-98FD-6898E5FFCCD6}" type="presOf" srcId="{FBB96376-8B42-406A-9D47-7D7115A25F57}" destId="{8C72B1E5-DE73-457E-BF56-2A021CC26A8E}" srcOrd="0" destOrd="0" presId="urn:microsoft.com/office/officeart/2005/8/layout/vList2"/>
    <dgm:cxn modelId="{687198C5-F39E-43F2-8BC0-CD5CE37E1361}" type="presParOf" srcId="{5D0FBEF5-2806-4BBD-8592-70D43A3F9C38}" destId="{9293F5D5-11A7-4EBD-AB2A-32B587777418}" srcOrd="0" destOrd="0" presId="urn:microsoft.com/office/officeart/2005/8/layout/vList2"/>
    <dgm:cxn modelId="{E8B5D722-6E3A-40EE-AE51-CF1FA37EDC67}" type="presParOf" srcId="{5D0FBEF5-2806-4BBD-8592-70D43A3F9C38}" destId="{7AF8DD4D-1DF9-4453-B18B-6722014DB2E3}" srcOrd="1" destOrd="0" presId="urn:microsoft.com/office/officeart/2005/8/layout/vList2"/>
    <dgm:cxn modelId="{3F01B767-C760-4CAB-9603-D954BC9FD06F}" type="presParOf" srcId="{5D0FBEF5-2806-4BBD-8592-70D43A3F9C38}" destId="{4629E081-81D2-4582-A2BA-742FDD6A68FE}" srcOrd="2" destOrd="0" presId="urn:microsoft.com/office/officeart/2005/8/layout/vList2"/>
    <dgm:cxn modelId="{32B665CC-E8ED-4203-917B-AB77475C72F2}" type="presParOf" srcId="{5D0FBEF5-2806-4BBD-8592-70D43A3F9C38}" destId="{00CCB998-6F0D-472D-B2FF-CA60FBDBEED4}" srcOrd="3" destOrd="0" presId="urn:microsoft.com/office/officeart/2005/8/layout/vList2"/>
    <dgm:cxn modelId="{0030E5B9-C1E4-4FC9-BCEF-CDCA71CD22CB}" type="presParOf" srcId="{5D0FBEF5-2806-4BBD-8592-70D43A3F9C38}" destId="{8C72B1E5-DE73-457E-BF56-2A021CC26A8E}" srcOrd="4" destOrd="0" presId="urn:microsoft.com/office/officeart/2005/8/layout/vList2"/>
    <dgm:cxn modelId="{79243101-8889-4C04-8B4A-6EE4E16CB914}" type="presParOf" srcId="{5D0FBEF5-2806-4BBD-8592-70D43A3F9C38}" destId="{A091F526-CEEB-4D25-849F-B0D4D482EAB9}"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7368D0B-0430-4A91-94E1-D0097F6BB4FA}" type="doc">
      <dgm:prSet loTypeId="urn:microsoft.com/office/officeart/2011/layout/TabList" loCatId="list" qsTypeId="urn:microsoft.com/office/officeart/2005/8/quickstyle/simple1" qsCatId="simple" csTypeId="urn:microsoft.com/office/officeart/2005/8/colors/accent2_2" csCatId="accent2" phldr="1"/>
      <dgm:spPr/>
      <dgm:t>
        <a:bodyPr/>
        <a:lstStyle/>
        <a:p>
          <a:endParaRPr lang="en-US"/>
        </a:p>
      </dgm:t>
    </dgm:pt>
    <dgm:pt modelId="{017CA063-7EEA-489C-87A9-E2147DD0A5AD}">
      <dgm:prSet custT="1"/>
      <dgm:spPr/>
      <dgm:t>
        <a:bodyPr/>
        <a:lstStyle/>
        <a:p>
          <a:r>
            <a:rPr lang="en-US" sz="2400" dirty="0"/>
            <a:t>Try</a:t>
          </a:r>
        </a:p>
      </dgm:t>
    </dgm:pt>
    <dgm:pt modelId="{E0B8EF2F-113F-4507-B8FC-3374D37646B0}" type="parTrans" cxnId="{27388B70-3F24-45ED-AE22-CF9A1F9E0AC5}">
      <dgm:prSet/>
      <dgm:spPr/>
      <dgm:t>
        <a:bodyPr/>
        <a:lstStyle/>
        <a:p>
          <a:endParaRPr lang="en-US" sz="2400"/>
        </a:p>
      </dgm:t>
    </dgm:pt>
    <dgm:pt modelId="{BD1C0346-86D3-4E46-82D3-0636A98D6820}" type="sibTrans" cxnId="{27388B70-3F24-45ED-AE22-CF9A1F9E0AC5}">
      <dgm:prSet/>
      <dgm:spPr/>
      <dgm:t>
        <a:bodyPr/>
        <a:lstStyle/>
        <a:p>
          <a:endParaRPr lang="en-US" sz="2400"/>
        </a:p>
      </dgm:t>
    </dgm:pt>
    <dgm:pt modelId="{1635F56D-E788-4300-B08E-66F105414E60}">
      <dgm:prSet custT="1"/>
      <dgm:spPr/>
      <dgm:t>
        <a:bodyPr/>
        <a:lstStyle/>
        <a:p>
          <a:r>
            <a:rPr lang="en-US" sz="2400" b="1" dirty="0"/>
            <a:t>Attempt</a:t>
          </a:r>
          <a:r>
            <a:rPr lang="en-US" sz="2400" dirty="0"/>
            <a:t> code that may result in </a:t>
          </a:r>
          <a:r>
            <a:rPr lang="en-US" sz="2400" b="1" dirty="0"/>
            <a:t>terminating</a:t>
          </a:r>
          <a:r>
            <a:rPr lang="en-US" sz="2400" dirty="0"/>
            <a:t> error</a:t>
          </a:r>
        </a:p>
      </dgm:t>
    </dgm:pt>
    <dgm:pt modelId="{58E16C08-E058-4264-A239-B00ACBD2A41C}" type="parTrans" cxnId="{F33CB2CA-1AB6-4B41-ACEC-70149B37A6CC}">
      <dgm:prSet/>
      <dgm:spPr/>
      <dgm:t>
        <a:bodyPr/>
        <a:lstStyle/>
        <a:p>
          <a:endParaRPr lang="en-US" sz="2400"/>
        </a:p>
      </dgm:t>
    </dgm:pt>
    <dgm:pt modelId="{993EC587-4929-4010-A6BE-20373D4ABDAE}" type="sibTrans" cxnId="{F33CB2CA-1AB6-4B41-ACEC-70149B37A6CC}">
      <dgm:prSet/>
      <dgm:spPr/>
      <dgm:t>
        <a:bodyPr/>
        <a:lstStyle/>
        <a:p>
          <a:endParaRPr lang="en-US" sz="2400"/>
        </a:p>
      </dgm:t>
    </dgm:pt>
    <dgm:pt modelId="{3A25F396-3993-40C8-ACE1-6100753554C6}">
      <dgm:prSet custT="1"/>
      <dgm:spPr/>
      <dgm:t>
        <a:bodyPr/>
        <a:lstStyle/>
        <a:p>
          <a:r>
            <a:rPr lang="en-US" sz="2400" dirty="0"/>
            <a:t>Catch</a:t>
          </a:r>
        </a:p>
      </dgm:t>
    </dgm:pt>
    <dgm:pt modelId="{9F443CF8-BAD5-4D7B-8C3F-00C5B2AE8846}" type="parTrans" cxnId="{B0D103B2-7607-4880-AF30-065C2C18CF0D}">
      <dgm:prSet/>
      <dgm:spPr/>
      <dgm:t>
        <a:bodyPr/>
        <a:lstStyle/>
        <a:p>
          <a:endParaRPr lang="en-US" sz="2400"/>
        </a:p>
      </dgm:t>
    </dgm:pt>
    <dgm:pt modelId="{E68B217B-2C11-448A-B532-3BDBE2C3ACEB}" type="sibTrans" cxnId="{B0D103B2-7607-4880-AF30-065C2C18CF0D}">
      <dgm:prSet/>
      <dgm:spPr/>
      <dgm:t>
        <a:bodyPr/>
        <a:lstStyle/>
        <a:p>
          <a:endParaRPr lang="en-US" sz="2400"/>
        </a:p>
      </dgm:t>
    </dgm:pt>
    <dgm:pt modelId="{B4EEDC0E-9BE4-4C10-81BE-C00A6BCF4F3D}">
      <dgm:prSet custT="1"/>
      <dgm:spPr/>
      <dgm:t>
        <a:bodyPr/>
        <a:lstStyle/>
        <a:p>
          <a:r>
            <a:rPr lang="en-US" sz="2400" dirty="0"/>
            <a:t>Code to execute if terminating error </a:t>
          </a:r>
          <a:r>
            <a:rPr lang="en-US" sz="2400" b="1" dirty="0"/>
            <a:t>occurs</a:t>
          </a:r>
        </a:p>
      </dgm:t>
    </dgm:pt>
    <dgm:pt modelId="{E1F2798B-79DE-4534-8D50-D1EC1A3F0DAE}" type="parTrans" cxnId="{FA93D08D-160F-40BA-B6F0-36DC21833DE1}">
      <dgm:prSet/>
      <dgm:spPr/>
      <dgm:t>
        <a:bodyPr/>
        <a:lstStyle/>
        <a:p>
          <a:endParaRPr lang="en-US" sz="2400"/>
        </a:p>
      </dgm:t>
    </dgm:pt>
    <dgm:pt modelId="{FEF0F46E-9E76-4BA5-978C-AB829B07012D}" type="sibTrans" cxnId="{FA93D08D-160F-40BA-B6F0-36DC21833DE1}">
      <dgm:prSet/>
      <dgm:spPr/>
      <dgm:t>
        <a:bodyPr/>
        <a:lstStyle/>
        <a:p>
          <a:endParaRPr lang="en-US" sz="2400"/>
        </a:p>
      </dgm:t>
    </dgm:pt>
    <dgm:pt modelId="{770E2AAD-DFE2-442A-9D52-934DFD104122}">
      <dgm:prSet custT="1"/>
      <dgm:spPr/>
      <dgm:t>
        <a:bodyPr/>
        <a:lstStyle/>
        <a:p>
          <a:r>
            <a:rPr lang="en-US" sz="2400" dirty="0"/>
            <a:t>Can be for </a:t>
          </a:r>
          <a:r>
            <a:rPr lang="en-US" sz="2400" b="1" dirty="0"/>
            <a:t>all</a:t>
          </a:r>
          <a:r>
            <a:rPr lang="en-US" sz="2400" dirty="0"/>
            <a:t> or </a:t>
          </a:r>
          <a:r>
            <a:rPr lang="en-US" sz="2400" b="1" dirty="0"/>
            <a:t>specific</a:t>
          </a:r>
          <a:r>
            <a:rPr lang="en-US" sz="2400" dirty="0"/>
            <a:t> exception types</a:t>
          </a:r>
        </a:p>
      </dgm:t>
    </dgm:pt>
    <dgm:pt modelId="{9BF68416-EBA5-43EA-9937-DF29ECA5B55D}" type="parTrans" cxnId="{96595DBB-560C-4E85-81D6-31598F14DF5C}">
      <dgm:prSet/>
      <dgm:spPr/>
      <dgm:t>
        <a:bodyPr/>
        <a:lstStyle/>
        <a:p>
          <a:endParaRPr lang="en-US" sz="2400"/>
        </a:p>
      </dgm:t>
    </dgm:pt>
    <dgm:pt modelId="{9ED9A70D-D725-4CAF-A856-034D13168B2C}" type="sibTrans" cxnId="{96595DBB-560C-4E85-81D6-31598F14DF5C}">
      <dgm:prSet/>
      <dgm:spPr/>
      <dgm:t>
        <a:bodyPr/>
        <a:lstStyle/>
        <a:p>
          <a:endParaRPr lang="en-US" sz="2400"/>
        </a:p>
      </dgm:t>
    </dgm:pt>
    <dgm:pt modelId="{FBB96376-8B42-406A-9D47-7D7115A25F57}">
      <dgm:prSet custT="1"/>
      <dgm:spPr/>
      <dgm:t>
        <a:bodyPr/>
        <a:lstStyle/>
        <a:p>
          <a:r>
            <a:rPr lang="en-US" sz="2400" dirty="0"/>
            <a:t>Finally</a:t>
          </a:r>
        </a:p>
      </dgm:t>
    </dgm:pt>
    <dgm:pt modelId="{3417013F-719D-4A31-B1C3-E6DB9D87DCD0}" type="parTrans" cxnId="{275692A9-EE39-4F5E-8684-EDFA0161983B}">
      <dgm:prSet/>
      <dgm:spPr/>
      <dgm:t>
        <a:bodyPr/>
        <a:lstStyle/>
        <a:p>
          <a:endParaRPr lang="en-US" sz="2400"/>
        </a:p>
      </dgm:t>
    </dgm:pt>
    <dgm:pt modelId="{9AA79446-3501-4F02-B483-EA6C317EDE2A}" type="sibTrans" cxnId="{275692A9-EE39-4F5E-8684-EDFA0161983B}">
      <dgm:prSet/>
      <dgm:spPr/>
      <dgm:t>
        <a:bodyPr/>
        <a:lstStyle/>
        <a:p>
          <a:endParaRPr lang="en-US" sz="2400"/>
        </a:p>
      </dgm:t>
    </dgm:pt>
    <dgm:pt modelId="{6C3C79A1-AFD6-4325-ACDB-CC2E7DC636A4}">
      <dgm:prSet custT="1"/>
      <dgm:spPr/>
      <dgm:t>
        <a:bodyPr/>
        <a:lstStyle/>
        <a:p>
          <a:r>
            <a:rPr lang="en-US" sz="2400" b="1" dirty="0"/>
            <a:t>Guaranteed to run </a:t>
          </a:r>
          <a:r>
            <a:rPr lang="en-US" sz="2400" dirty="0"/>
            <a:t>regardless if error occurred</a:t>
          </a:r>
        </a:p>
      </dgm:t>
    </dgm:pt>
    <dgm:pt modelId="{5EB7EA9C-7616-4DAC-8AA1-D755A21D525B}" type="parTrans" cxnId="{6DDE07D5-6D56-4C6F-B37B-52834B2E60F1}">
      <dgm:prSet/>
      <dgm:spPr/>
      <dgm:t>
        <a:bodyPr/>
        <a:lstStyle/>
        <a:p>
          <a:endParaRPr lang="en-US" sz="2400"/>
        </a:p>
      </dgm:t>
    </dgm:pt>
    <dgm:pt modelId="{3AC0DA19-FDB0-44F6-A97D-0EB3D7874EA1}" type="sibTrans" cxnId="{6DDE07D5-6D56-4C6F-B37B-52834B2E60F1}">
      <dgm:prSet/>
      <dgm:spPr/>
      <dgm:t>
        <a:bodyPr/>
        <a:lstStyle/>
        <a:p>
          <a:endParaRPr lang="en-US" sz="2400"/>
        </a:p>
      </dgm:t>
    </dgm:pt>
    <dgm:pt modelId="{F476A723-4E68-4D50-808F-FE929FCFCDCE}">
      <dgm:prSet custT="1"/>
      <dgm:spPr/>
      <dgm:t>
        <a:bodyPr/>
        <a:lstStyle/>
        <a:p>
          <a:r>
            <a:rPr lang="en-US" sz="2400" dirty="0"/>
            <a:t>Useful for </a:t>
          </a:r>
          <a:r>
            <a:rPr lang="en-US" sz="2400" b="1" dirty="0"/>
            <a:t>cleanup</a:t>
          </a:r>
          <a:r>
            <a:rPr lang="en-US" sz="2400" dirty="0"/>
            <a:t> code, like </a:t>
          </a:r>
          <a:r>
            <a:rPr lang="en-US" sz="2400" b="1" dirty="0"/>
            <a:t>.Dispose() </a:t>
          </a:r>
          <a:r>
            <a:rPr lang="en-US" sz="2400" dirty="0"/>
            <a:t>methods</a:t>
          </a:r>
        </a:p>
      </dgm:t>
    </dgm:pt>
    <dgm:pt modelId="{78784BF3-817F-41ED-9817-4D7B69F8AB95}" type="parTrans" cxnId="{2AAEE2D0-6985-4C40-B39E-E4588C4ACF92}">
      <dgm:prSet/>
      <dgm:spPr/>
      <dgm:t>
        <a:bodyPr/>
        <a:lstStyle/>
        <a:p>
          <a:endParaRPr lang="en-US" sz="2400"/>
        </a:p>
      </dgm:t>
    </dgm:pt>
    <dgm:pt modelId="{D3DFB5EB-984F-4354-A50D-33C8373E8353}" type="sibTrans" cxnId="{2AAEE2D0-6985-4C40-B39E-E4588C4ACF92}">
      <dgm:prSet/>
      <dgm:spPr/>
      <dgm:t>
        <a:bodyPr/>
        <a:lstStyle/>
        <a:p>
          <a:endParaRPr lang="en-US" sz="2400"/>
        </a:p>
      </dgm:t>
    </dgm:pt>
    <dgm:pt modelId="{405E7669-9AA8-4503-BFAA-A338A7DEC9AF}">
      <dgm:prSet custT="1"/>
      <dgm:spPr/>
      <dgm:t>
        <a:bodyPr/>
        <a:lstStyle/>
        <a:p>
          <a:r>
            <a:rPr lang="en-US" sz="2400" b="1" dirty="0"/>
            <a:t>Must</a:t>
          </a:r>
          <a:r>
            <a:rPr lang="en-US" sz="2400" dirty="0"/>
            <a:t> have at least one </a:t>
          </a:r>
          <a:r>
            <a:rPr lang="en-US" sz="2400" b="1" dirty="0"/>
            <a:t>Catch { } </a:t>
          </a:r>
          <a:r>
            <a:rPr lang="en-US" sz="2400" dirty="0"/>
            <a:t>or </a:t>
          </a:r>
          <a:r>
            <a:rPr lang="en-US" sz="2400" b="1" dirty="0"/>
            <a:t>Finally { } </a:t>
          </a:r>
          <a:r>
            <a:rPr lang="en-US" sz="2400" dirty="0"/>
            <a:t>block</a:t>
          </a:r>
        </a:p>
      </dgm:t>
    </dgm:pt>
    <dgm:pt modelId="{D5B7BD6B-ED29-4FC3-8F63-BE003EE17C57}" type="parTrans" cxnId="{59A6D749-AB03-44C6-8217-4F7FE0E03435}">
      <dgm:prSet/>
      <dgm:spPr/>
      <dgm:t>
        <a:bodyPr/>
        <a:lstStyle/>
        <a:p>
          <a:endParaRPr lang="en-US" sz="2400"/>
        </a:p>
      </dgm:t>
    </dgm:pt>
    <dgm:pt modelId="{A1B9BEB0-A3AD-4A50-8A11-DCD0B22A4849}" type="sibTrans" cxnId="{59A6D749-AB03-44C6-8217-4F7FE0E03435}">
      <dgm:prSet/>
      <dgm:spPr/>
      <dgm:t>
        <a:bodyPr/>
        <a:lstStyle/>
        <a:p>
          <a:endParaRPr lang="en-US" sz="2400"/>
        </a:p>
      </dgm:t>
    </dgm:pt>
    <dgm:pt modelId="{D8C99122-7F0E-4E34-A73A-D8DF3C0F33CF}">
      <dgm:prSet custT="1"/>
      <dgm:spPr/>
      <dgm:t>
        <a:bodyPr/>
        <a:lstStyle/>
        <a:p>
          <a:r>
            <a:rPr lang="en-US" sz="2400" b="1" dirty="0"/>
            <a:t>Multiple</a:t>
          </a:r>
          <a:r>
            <a:rPr lang="en-US" sz="2400" dirty="0"/>
            <a:t> </a:t>
          </a:r>
          <a:r>
            <a:rPr lang="en-US" sz="2400" b="1" dirty="0"/>
            <a:t>Catch { } </a:t>
          </a:r>
          <a:r>
            <a:rPr lang="en-US" sz="2400" dirty="0"/>
            <a:t>blocks can be defined</a:t>
          </a:r>
        </a:p>
      </dgm:t>
    </dgm:pt>
    <dgm:pt modelId="{959C998E-BE11-4A10-A909-22A091AFAD5F}" type="parTrans" cxnId="{708F21D5-8EA1-466F-BEA0-E0927DAA106C}">
      <dgm:prSet/>
      <dgm:spPr/>
      <dgm:t>
        <a:bodyPr/>
        <a:lstStyle/>
        <a:p>
          <a:endParaRPr lang="en-US" sz="2400"/>
        </a:p>
      </dgm:t>
    </dgm:pt>
    <dgm:pt modelId="{CA44D500-B94F-4494-8726-DFE7D70CFBC8}" type="sibTrans" cxnId="{708F21D5-8EA1-466F-BEA0-E0927DAA106C}">
      <dgm:prSet/>
      <dgm:spPr/>
      <dgm:t>
        <a:bodyPr/>
        <a:lstStyle/>
        <a:p>
          <a:endParaRPr lang="en-US" sz="2400"/>
        </a:p>
      </dgm:t>
    </dgm:pt>
    <dgm:pt modelId="{C0FD9E75-B5F8-4776-983B-BDA55D229C6F}">
      <dgm:prSet custT="1"/>
      <dgm:spPr/>
      <dgm:t>
        <a:bodyPr/>
        <a:lstStyle/>
        <a:p>
          <a:r>
            <a:rPr lang="en-US" sz="2400" b="1" dirty="0"/>
            <a:t>Optional</a:t>
          </a:r>
        </a:p>
      </dgm:t>
    </dgm:pt>
    <dgm:pt modelId="{5022DF66-F161-49BA-8840-DA3A4AA403CC}" type="parTrans" cxnId="{447EF3DE-22FE-4A8A-8E53-FE7546100DEC}">
      <dgm:prSet/>
      <dgm:spPr/>
    </dgm:pt>
    <dgm:pt modelId="{9FF78EEC-5016-4F8F-B4ED-ABDDE45F9ACC}" type="sibTrans" cxnId="{447EF3DE-22FE-4A8A-8E53-FE7546100DEC}">
      <dgm:prSet/>
      <dgm:spPr/>
    </dgm:pt>
    <dgm:pt modelId="{48782F99-CDD7-46B3-A703-429A276847C5}" type="pres">
      <dgm:prSet presAssocID="{47368D0B-0430-4A91-94E1-D0097F6BB4FA}" presName="Name0" presStyleCnt="0">
        <dgm:presLayoutVars>
          <dgm:chMax/>
          <dgm:chPref val="3"/>
          <dgm:dir/>
          <dgm:animOne val="branch"/>
          <dgm:animLvl val="lvl"/>
        </dgm:presLayoutVars>
      </dgm:prSet>
      <dgm:spPr/>
    </dgm:pt>
    <dgm:pt modelId="{119AF56B-5EB5-4A3A-9A39-C17E3EB8A3AC}" type="pres">
      <dgm:prSet presAssocID="{017CA063-7EEA-489C-87A9-E2147DD0A5AD}" presName="composite" presStyleCnt="0"/>
      <dgm:spPr/>
    </dgm:pt>
    <dgm:pt modelId="{01E3C3B4-C497-4739-A006-5C0AC793F778}" type="pres">
      <dgm:prSet presAssocID="{017CA063-7EEA-489C-87A9-E2147DD0A5AD}" presName="FirstChild" presStyleLbl="revTx" presStyleIdx="0" presStyleCnt="6">
        <dgm:presLayoutVars>
          <dgm:chMax val="0"/>
          <dgm:chPref val="0"/>
          <dgm:bulletEnabled val="1"/>
        </dgm:presLayoutVars>
      </dgm:prSet>
      <dgm:spPr/>
    </dgm:pt>
    <dgm:pt modelId="{50641966-02CD-4C6E-BEC3-779AEEEF231F}" type="pres">
      <dgm:prSet presAssocID="{017CA063-7EEA-489C-87A9-E2147DD0A5AD}" presName="Parent" presStyleLbl="alignNode1" presStyleIdx="0" presStyleCnt="3">
        <dgm:presLayoutVars>
          <dgm:chMax val="3"/>
          <dgm:chPref val="3"/>
          <dgm:bulletEnabled val="1"/>
        </dgm:presLayoutVars>
      </dgm:prSet>
      <dgm:spPr/>
    </dgm:pt>
    <dgm:pt modelId="{9CD108DF-2436-49CD-8B2A-E5BF91AD3608}" type="pres">
      <dgm:prSet presAssocID="{017CA063-7EEA-489C-87A9-E2147DD0A5AD}" presName="Accent" presStyleLbl="parChTrans1D1" presStyleIdx="0" presStyleCnt="3"/>
      <dgm:spPr/>
    </dgm:pt>
    <dgm:pt modelId="{BCD6456C-4E62-416A-809A-D672189B9F87}" type="pres">
      <dgm:prSet presAssocID="{017CA063-7EEA-489C-87A9-E2147DD0A5AD}" presName="Child" presStyleLbl="revTx" presStyleIdx="1" presStyleCnt="6">
        <dgm:presLayoutVars>
          <dgm:chMax val="0"/>
          <dgm:chPref val="0"/>
          <dgm:bulletEnabled val="1"/>
        </dgm:presLayoutVars>
      </dgm:prSet>
      <dgm:spPr/>
    </dgm:pt>
    <dgm:pt modelId="{3B158AC0-D3EE-4094-9CC4-E9028E13BDFC}" type="pres">
      <dgm:prSet presAssocID="{BD1C0346-86D3-4E46-82D3-0636A98D6820}" presName="sibTrans" presStyleCnt="0"/>
      <dgm:spPr/>
    </dgm:pt>
    <dgm:pt modelId="{69990046-EF6E-4168-92AA-6F8153FCD1FA}" type="pres">
      <dgm:prSet presAssocID="{3A25F396-3993-40C8-ACE1-6100753554C6}" presName="composite" presStyleCnt="0"/>
      <dgm:spPr/>
    </dgm:pt>
    <dgm:pt modelId="{E1F2B100-BA01-4745-BB8F-F91436C7E635}" type="pres">
      <dgm:prSet presAssocID="{3A25F396-3993-40C8-ACE1-6100753554C6}" presName="FirstChild" presStyleLbl="revTx" presStyleIdx="2" presStyleCnt="6">
        <dgm:presLayoutVars>
          <dgm:chMax val="0"/>
          <dgm:chPref val="0"/>
          <dgm:bulletEnabled val="1"/>
        </dgm:presLayoutVars>
      </dgm:prSet>
      <dgm:spPr/>
    </dgm:pt>
    <dgm:pt modelId="{94FC6309-6924-4D12-92DF-A13600C896B7}" type="pres">
      <dgm:prSet presAssocID="{3A25F396-3993-40C8-ACE1-6100753554C6}" presName="Parent" presStyleLbl="alignNode1" presStyleIdx="1" presStyleCnt="3">
        <dgm:presLayoutVars>
          <dgm:chMax val="3"/>
          <dgm:chPref val="3"/>
          <dgm:bulletEnabled val="1"/>
        </dgm:presLayoutVars>
      </dgm:prSet>
      <dgm:spPr/>
    </dgm:pt>
    <dgm:pt modelId="{42CA15ED-9B4F-4E6F-847C-72F996EBE757}" type="pres">
      <dgm:prSet presAssocID="{3A25F396-3993-40C8-ACE1-6100753554C6}" presName="Accent" presStyleLbl="parChTrans1D1" presStyleIdx="1" presStyleCnt="3"/>
      <dgm:spPr/>
    </dgm:pt>
    <dgm:pt modelId="{2EE41189-6D2C-498C-BD33-AEDCBAA3664B}" type="pres">
      <dgm:prSet presAssocID="{3A25F396-3993-40C8-ACE1-6100753554C6}" presName="Child" presStyleLbl="revTx" presStyleIdx="3" presStyleCnt="6">
        <dgm:presLayoutVars>
          <dgm:chMax val="0"/>
          <dgm:chPref val="0"/>
          <dgm:bulletEnabled val="1"/>
        </dgm:presLayoutVars>
      </dgm:prSet>
      <dgm:spPr/>
    </dgm:pt>
    <dgm:pt modelId="{98588C09-3CC0-4D47-8157-C695A23FACE3}" type="pres">
      <dgm:prSet presAssocID="{E68B217B-2C11-448A-B532-3BDBE2C3ACEB}" presName="sibTrans" presStyleCnt="0"/>
      <dgm:spPr/>
    </dgm:pt>
    <dgm:pt modelId="{2635E60A-6577-4F5B-8315-5DA59517B94D}" type="pres">
      <dgm:prSet presAssocID="{FBB96376-8B42-406A-9D47-7D7115A25F57}" presName="composite" presStyleCnt="0"/>
      <dgm:spPr/>
    </dgm:pt>
    <dgm:pt modelId="{5EFE0495-A0CD-49F2-918D-0CBBF3F69C61}" type="pres">
      <dgm:prSet presAssocID="{FBB96376-8B42-406A-9D47-7D7115A25F57}" presName="FirstChild" presStyleLbl="revTx" presStyleIdx="4" presStyleCnt="6">
        <dgm:presLayoutVars>
          <dgm:chMax val="0"/>
          <dgm:chPref val="0"/>
          <dgm:bulletEnabled val="1"/>
        </dgm:presLayoutVars>
      </dgm:prSet>
      <dgm:spPr/>
    </dgm:pt>
    <dgm:pt modelId="{3D961A46-3909-4CF0-A6F9-77E677A75EAE}" type="pres">
      <dgm:prSet presAssocID="{FBB96376-8B42-406A-9D47-7D7115A25F57}" presName="Parent" presStyleLbl="alignNode1" presStyleIdx="2" presStyleCnt="3">
        <dgm:presLayoutVars>
          <dgm:chMax val="3"/>
          <dgm:chPref val="3"/>
          <dgm:bulletEnabled val="1"/>
        </dgm:presLayoutVars>
      </dgm:prSet>
      <dgm:spPr/>
    </dgm:pt>
    <dgm:pt modelId="{7B815482-768D-4FD3-96A9-3969D288BC4C}" type="pres">
      <dgm:prSet presAssocID="{FBB96376-8B42-406A-9D47-7D7115A25F57}" presName="Accent" presStyleLbl="parChTrans1D1" presStyleIdx="2" presStyleCnt="3"/>
      <dgm:spPr/>
    </dgm:pt>
    <dgm:pt modelId="{4C7474BB-3C24-4965-9D2B-A37731AE41D5}" type="pres">
      <dgm:prSet presAssocID="{FBB96376-8B42-406A-9D47-7D7115A25F57}" presName="Child" presStyleLbl="revTx" presStyleIdx="5" presStyleCnt="6">
        <dgm:presLayoutVars>
          <dgm:chMax val="0"/>
          <dgm:chPref val="0"/>
          <dgm:bulletEnabled val="1"/>
        </dgm:presLayoutVars>
      </dgm:prSet>
      <dgm:spPr/>
    </dgm:pt>
  </dgm:ptLst>
  <dgm:cxnLst>
    <dgm:cxn modelId="{FCC90406-9B99-4539-B43F-2ADCFF569545}" type="presOf" srcId="{017CA063-7EEA-489C-87A9-E2147DD0A5AD}" destId="{50641966-02CD-4C6E-BEC3-779AEEEF231F}" srcOrd="0" destOrd="0" presId="urn:microsoft.com/office/officeart/2011/layout/TabList"/>
    <dgm:cxn modelId="{B19B311C-9570-4203-BCA3-1E4A4462D1BA}" type="presOf" srcId="{FBB96376-8B42-406A-9D47-7D7115A25F57}" destId="{3D961A46-3909-4CF0-A6F9-77E677A75EAE}" srcOrd="0" destOrd="0" presId="urn:microsoft.com/office/officeart/2011/layout/TabList"/>
    <dgm:cxn modelId="{09181661-5698-46F1-B922-1DBEC9F9AE01}" type="presOf" srcId="{1635F56D-E788-4300-B08E-66F105414E60}" destId="{01E3C3B4-C497-4739-A006-5C0AC793F778}" srcOrd="0" destOrd="0" presId="urn:microsoft.com/office/officeart/2011/layout/TabList"/>
    <dgm:cxn modelId="{F82EAA68-297F-40A8-A3D3-3729D4798222}" type="presOf" srcId="{B4EEDC0E-9BE4-4C10-81BE-C00A6BCF4F3D}" destId="{E1F2B100-BA01-4745-BB8F-F91436C7E635}" srcOrd="0" destOrd="0" presId="urn:microsoft.com/office/officeart/2011/layout/TabList"/>
    <dgm:cxn modelId="{E4B9B449-D086-4CFF-B2F0-B3237240EE3C}" type="presOf" srcId="{C0FD9E75-B5F8-4776-983B-BDA55D229C6F}" destId="{4C7474BB-3C24-4965-9D2B-A37731AE41D5}" srcOrd="0" destOrd="0" presId="urn:microsoft.com/office/officeart/2011/layout/TabList"/>
    <dgm:cxn modelId="{59A6D749-AB03-44C6-8217-4F7FE0E03435}" srcId="{017CA063-7EEA-489C-87A9-E2147DD0A5AD}" destId="{405E7669-9AA8-4503-BFAA-A338A7DEC9AF}" srcOrd="1" destOrd="0" parTransId="{D5B7BD6B-ED29-4FC3-8F63-BE003EE17C57}" sibTransId="{A1B9BEB0-A3AD-4A50-8A11-DCD0B22A4849}"/>
    <dgm:cxn modelId="{27388B70-3F24-45ED-AE22-CF9A1F9E0AC5}" srcId="{47368D0B-0430-4A91-94E1-D0097F6BB4FA}" destId="{017CA063-7EEA-489C-87A9-E2147DD0A5AD}" srcOrd="0" destOrd="0" parTransId="{E0B8EF2F-113F-4507-B8FC-3374D37646B0}" sibTransId="{BD1C0346-86D3-4E46-82D3-0636A98D6820}"/>
    <dgm:cxn modelId="{B488D253-9956-4EAC-8A92-84A11F33F4D0}" type="presOf" srcId="{47368D0B-0430-4A91-94E1-D0097F6BB4FA}" destId="{48782F99-CDD7-46B3-A703-429A276847C5}" srcOrd="0" destOrd="0" presId="urn:microsoft.com/office/officeart/2011/layout/TabList"/>
    <dgm:cxn modelId="{EECAFF73-3A05-4D8B-8F4B-1617D444AB48}" type="presOf" srcId="{F476A723-4E68-4D50-808F-FE929FCFCDCE}" destId="{4C7474BB-3C24-4965-9D2B-A37731AE41D5}" srcOrd="0" destOrd="1" presId="urn:microsoft.com/office/officeart/2011/layout/TabList"/>
    <dgm:cxn modelId="{95E3AD76-E499-4410-9D5B-84F58F44D96F}" type="presOf" srcId="{405E7669-9AA8-4503-BFAA-A338A7DEC9AF}" destId="{BCD6456C-4E62-416A-809A-D672189B9F87}" srcOrd="0" destOrd="0" presId="urn:microsoft.com/office/officeart/2011/layout/TabList"/>
    <dgm:cxn modelId="{261B847A-1079-4A8F-B7E8-FBE555ECF64A}" type="presOf" srcId="{D8C99122-7F0E-4E34-A73A-D8DF3C0F33CF}" destId="{2EE41189-6D2C-498C-BD33-AEDCBAA3664B}" srcOrd="0" destOrd="1" presId="urn:microsoft.com/office/officeart/2011/layout/TabList"/>
    <dgm:cxn modelId="{FA93D08D-160F-40BA-B6F0-36DC21833DE1}" srcId="{3A25F396-3993-40C8-ACE1-6100753554C6}" destId="{B4EEDC0E-9BE4-4C10-81BE-C00A6BCF4F3D}" srcOrd="0" destOrd="0" parTransId="{E1F2798B-79DE-4534-8D50-D1EC1A3F0DAE}" sibTransId="{FEF0F46E-9E76-4BA5-978C-AB829B07012D}"/>
    <dgm:cxn modelId="{D5C6719A-82E2-4800-B723-3894E723E78F}" type="presOf" srcId="{3A25F396-3993-40C8-ACE1-6100753554C6}" destId="{94FC6309-6924-4D12-92DF-A13600C896B7}" srcOrd="0" destOrd="0" presId="urn:microsoft.com/office/officeart/2011/layout/TabList"/>
    <dgm:cxn modelId="{48BC9E9A-4AE2-4B0C-A938-203A29C2BBA5}" type="presOf" srcId="{770E2AAD-DFE2-442A-9D52-934DFD104122}" destId="{2EE41189-6D2C-498C-BD33-AEDCBAA3664B}" srcOrd="0" destOrd="0" presId="urn:microsoft.com/office/officeart/2011/layout/TabList"/>
    <dgm:cxn modelId="{275692A9-EE39-4F5E-8684-EDFA0161983B}" srcId="{47368D0B-0430-4A91-94E1-D0097F6BB4FA}" destId="{FBB96376-8B42-406A-9D47-7D7115A25F57}" srcOrd="2" destOrd="0" parTransId="{3417013F-719D-4A31-B1C3-E6DB9D87DCD0}" sibTransId="{9AA79446-3501-4F02-B483-EA6C317EDE2A}"/>
    <dgm:cxn modelId="{828234AB-E00C-4AD5-8978-839A7E44DA42}" type="presOf" srcId="{6C3C79A1-AFD6-4325-ACDB-CC2E7DC636A4}" destId="{5EFE0495-A0CD-49F2-918D-0CBBF3F69C61}" srcOrd="0" destOrd="0" presId="urn:microsoft.com/office/officeart/2011/layout/TabList"/>
    <dgm:cxn modelId="{B0D103B2-7607-4880-AF30-065C2C18CF0D}" srcId="{47368D0B-0430-4A91-94E1-D0097F6BB4FA}" destId="{3A25F396-3993-40C8-ACE1-6100753554C6}" srcOrd="1" destOrd="0" parTransId="{9F443CF8-BAD5-4D7B-8C3F-00C5B2AE8846}" sibTransId="{E68B217B-2C11-448A-B532-3BDBE2C3ACEB}"/>
    <dgm:cxn modelId="{96595DBB-560C-4E85-81D6-31598F14DF5C}" srcId="{3A25F396-3993-40C8-ACE1-6100753554C6}" destId="{770E2AAD-DFE2-442A-9D52-934DFD104122}" srcOrd="1" destOrd="0" parTransId="{9BF68416-EBA5-43EA-9937-DF29ECA5B55D}" sibTransId="{9ED9A70D-D725-4CAF-A856-034D13168B2C}"/>
    <dgm:cxn modelId="{F33CB2CA-1AB6-4B41-ACEC-70149B37A6CC}" srcId="{017CA063-7EEA-489C-87A9-E2147DD0A5AD}" destId="{1635F56D-E788-4300-B08E-66F105414E60}" srcOrd="0" destOrd="0" parTransId="{58E16C08-E058-4264-A239-B00ACBD2A41C}" sibTransId="{993EC587-4929-4010-A6BE-20373D4ABDAE}"/>
    <dgm:cxn modelId="{2AAEE2D0-6985-4C40-B39E-E4588C4ACF92}" srcId="{FBB96376-8B42-406A-9D47-7D7115A25F57}" destId="{F476A723-4E68-4D50-808F-FE929FCFCDCE}" srcOrd="2" destOrd="0" parTransId="{78784BF3-817F-41ED-9817-4D7B69F8AB95}" sibTransId="{D3DFB5EB-984F-4354-A50D-33C8373E8353}"/>
    <dgm:cxn modelId="{6DDE07D5-6D56-4C6F-B37B-52834B2E60F1}" srcId="{FBB96376-8B42-406A-9D47-7D7115A25F57}" destId="{6C3C79A1-AFD6-4325-ACDB-CC2E7DC636A4}" srcOrd="0" destOrd="0" parTransId="{5EB7EA9C-7616-4DAC-8AA1-D755A21D525B}" sibTransId="{3AC0DA19-FDB0-44F6-A97D-0EB3D7874EA1}"/>
    <dgm:cxn modelId="{708F21D5-8EA1-466F-BEA0-E0927DAA106C}" srcId="{3A25F396-3993-40C8-ACE1-6100753554C6}" destId="{D8C99122-7F0E-4E34-A73A-D8DF3C0F33CF}" srcOrd="2" destOrd="0" parTransId="{959C998E-BE11-4A10-A909-22A091AFAD5F}" sibTransId="{CA44D500-B94F-4494-8726-DFE7D70CFBC8}"/>
    <dgm:cxn modelId="{447EF3DE-22FE-4A8A-8E53-FE7546100DEC}" srcId="{FBB96376-8B42-406A-9D47-7D7115A25F57}" destId="{C0FD9E75-B5F8-4776-983B-BDA55D229C6F}" srcOrd="1" destOrd="0" parTransId="{5022DF66-F161-49BA-8840-DA3A4AA403CC}" sibTransId="{9FF78EEC-5016-4F8F-B4ED-ABDDE45F9ACC}"/>
    <dgm:cxn modelId="{23907AE4-1B7A-4306-A260-925111508C9E}" type="presParOf" srcId="{48782F99-CDD7-46B3-A703-429A276847C5}" destId="{119AF56B-5EB5-4A3A-9A39-C17E3EB8A3AC}" srcOrd="0" destOrd="0" presId="urn:microsoft.com/office/officeart/2011/layout/TabList"/>
    <dgm:cxn modelId="{8C0BFC31-FA90-45F6-AB96-8DFED9D9DB78}" type="presParOf" srcId="{119AF56B-5EB5-4A3A-9A39-C17E3EB8A3AC}" destId="{01E3C3B4-C497-4739-A006-5C0AC793F778}" srcOrd="0" destOrd="0" presId="urn:microsoft.com/office/officeart/2011/layout/TabList"/>
    <dgm:cxn modelId="{525083DD-A0D0-40CC-8495-55692D3C4190}" type="presParOf" srcId="{119AF56B-5EB5-4A3A-9A39-C17E3EB8A3AC}" destId="{50641966-02CD-4C6E-BEC3-779AEEEF231F}" srcOrd="1" destOrd="0" presId="urn:microsoft.com/office/officeart/2011/layout/TabList"/>
    <dgm:cxn modelId="{12E059FB-1068-447C-A8C6-142AE7FC140C}" type="presParOf" srcId="{119AF56B-5EB5-4A3A-9A39-C17E3EB8A3AC}" destId="{9CD108DF-2436-49CD-8B2A-E5BF91AD3608}" srcOrd="2" destOrd="0" presId="urn:microsoft.com/office/officeart/2011/layout/TabList"/>
    <dgm:cxn modelId="{EF111A9E-54A2-482D-A0AF-962284CBB138}" type="presParOf" srcId="{48782F99-CDD7-46B3-A703-429A276847C5}" destId="{BCD6456C-4E62-416A-809A-D672189B9F87}" srcOrd="1" destOrd="0" presId="urn:microsoft.com/office/officeart/2011/layout/TabList"/>
    <dgm:cxn modelId="{06866396-DDB1-4ED5-8231-395DF6752186}" type="presParOf" srcId="{48782F99-CDD7-46B3-A703-429A276847C5}" destId="{3B158AC0-D3EE-4094-9CC4-E9028E13BDFC}" srcOrd="2" destOrd="0" presId="urn:microsoft.com/office/officeart/2011/layout/TabList"/>
    <dgm:cxn modelId="{26999497-0251-47AB-9214-74B7E78CDBE4}" type="presParOf" srcId="{48782F99-CDD7-46B3-A703-429A276847C5}" destId="{69990046-EF6E-4168-92AA-6F8153FCD1FA}" srcOrd="3" destOrd="0" presId="urn:microsoft.com/office/officeart/2011/layout/TabList"/>
    <dgm:cxn modelId="{DE3DFB53-B335-4AFA-BC33-006022EBCB99}" type="presParOf" srcId="{69990046-EF6E-4168-92AA-6F8153FCD1FA}" destId="{E1F2B100-BA01-4745-BB8F-F91436C7E635}" srcOrd="0" destOrd="0" presId="urn:microsoft.com/office/officeart/2011/layout/TabList"/>
    <dgm:cxn modelId="{144AC68E-3BB9-41F8-9434-BFDEE947B0DA}" type="presParOf" srcId="{69990046-EF6E-4168-92AA-6F8153FCD1FA}" destId="{94FC6309-6924-4D12-92DF-A13600C896B7}" srcOrd="1" destOrd="0" presId="urn:microsoft.com/office/officeart/2011/layout/TabList"/>
    <dgm:cxn modelId="{577DB705-87E3-462A-9917-46C69110AF54}" type="presParOf" srcId="{69990046-EF6E-4168-92AA-6F8153FCD1FA}" destId="{42CA15ED-9B4F-4E6F-847C-72F996EBE757}" srcOrd="2" destOrd="0" presId="urn:microsoft.com/office/officeart/2011/layout/TabList"/>
    <dgm:cxn modelId="{4DBF208C-6F7B-47E1-A64F-95BDC4D5EA39}" type="presParOf" srcId="{48782F99-CDD7-46B3-A703-429A276847C5}" destId="{2EE41189-6D2C-498C-BD33-AEDCBAA3664B}" srcOrd="4" destOrd="0" presId="urn:microsoft.com/office/officeart/2011/layout/TabList"/>
    <dgm:cxn modelId="{B4A2AC13-247F-48B3-BD42-57BFC6FFCE2D}" type="presParOf" srcId="{48782F99-CDD7-46B3-A703-429A276847C5}" destId="{98588C09-3CC0-4D47-8157-C695A23FACE3}" srcOrd="5" destOrd="0" presId="urn:microsoft.com/office/officeart/2011/layout/TabList"/>
    <dgm:cxn modelId="{EA0F5186-5241-4DCD-A7AD-5EB945804C1D}" type="presParOf" srcId="{48782F99-CDD7-46B3-A703-429A276847C5}" destId="{2635E60A-6577-4F5B-8315-5DA59517B94D}" srcOrd="6" destOrd="0" presId="urn:microsoft.com/office/officeart/2011/layout/TabList"/>
    <dgm:cxn modelId="{7585ECF9-7BE5-4545-BA4C-74AB8FAEAAFE}" type="presParOf" srcId="{2635E60A-6577-4F5B-8315-5DA59517B94D}" destId="{5EFE0495-A0CD-49F2-918D-0CBBF3F69C61}" srcOrd="0" destOrd="0" presId="urn:microsoft.com/office/officeart/2011/layout/TabList"/>
    <dgm:cxn modelId="{88523C3F-9400-45F5-99FC-EDE319D80218}" type="presParOf" srcId="{2635E60A-6577-4F5B-8315-5DA59517B94D}" destId="{3D961A46-3909-4CF0-A6F9-77E677A75EAE}" srcOrd="1" destOrd="0" presId="urn:microsoft.com/office/officeart/2011/layout/TabList"/>
    <dgm:cxn modelId="{11C27FF5-4528-4496-8BEC-5225870A108D}" type="presParOf" srcId="{2635E60A-6577-4F5B-8315-5DA59517B94D}" destId="{7B815482-768D-4FD3-96A9-3969D288BC4C}" srcOrd="2" destOrd="0" presId="urn:microsoft.com/office/officeart/2011/layout/TabList"/>
    <dgm:cxn modelId="{B6EDF5D2-14AD-4AEA-A92A-CF8DFEC53A06}" type="presParOf" srcId="{48782F99-CDD7-46B3-A703-429A276847C5}" destId="{4C7474BB-3C24-4965-9D2B-A37731AE41D5}" srcOrd="7" destOrd="0" presId="urn:microsoft.com/office/officeart/2011/layout/Tab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E0D095A-7BB2-4CE0-B6A4-AEEB244D345B}"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62DE029-143F-49C7-8D7C-7F915573F722}">
      <dgm:prSet/>
      <dgm:spPr/>
      <dgm:t>
        <a:bodyPr/>
        <a:lstStyle/>
        <a:p>
          <a:r>
            <a:rPr lang="en-US" b="1"/>
            <a:t>Identify</a:t>
          </a:r>
          <a:r>
            <a:rPr lang="en-US"/>
            <a:t> where the error has occurred</a:t>
          </a:r>
        </a:p>
      </dgm:t>
    </dgm:pt>
    <dgm:pt modelId="{836331BC-89F5-4B53-BDDE-2FAB9D87DDFE}" type="parTrans" cxnId="{6B33A936-1277-4063-8462-A3F1329BAF74}">
      <dgm:prSet/>
      <dgm:spPr/>
      <dgm:t>
        <a:bodyPr/>
        <a:lstStyle/>
        <a:p>
          <a:endParaRPr lang="en-US"/>
        </a:p>
      </dgm:t>
    </dgm:pt>
    <dgm:pt modelId="{8C89E285-1FD4-48F2-A84F-CA3FA780AEA6}" type="sibTrans" cxnId="{6B33A936-1277-4063-8462-A3F1329BAF74}">
      <dgm:prSet/>
      <dgm:spPr/>
      <dgm:t>
        <a:bodyPr/>
        <a:lstStyle/>
        <a:p>
          <a:endParaRPr lang="en-US"/>
        </a:p>
      </dgm:t>
    </dgm:pt>
    <dgm:pt modelId="{398F1FA2-5E05-49FD-93DA-698F8A48C29C}">
      <dgm:prSet/>
      <dgm:spPr/>
      <dgm:t>
        <a:bodyPr/>
        <a:lstStyle/>
        <a:p>
          <a:r>
            <a:rPr lang="en-US"/>
            <a:t>Resolve </a:t>
          </a:r>
          <a:r>
            <a:rPr lang="en-US" b="1"/>
            <a:t>logic</a:t>
          </a:r>
          <a:r>
            <a:rPr lang="en-US"/>
            <a:t> issues to prevent error</a:t>
          </a:r>
        </a:p>
      </dgm:t>
    </dgm:pt>
    <dgm:pt modelId="{795B1E99-2D98-425E-B7A0-B3657351D53C}" type="parTrans" cxnId="{784269AD-4E6C-4FAB-83F2-BD5D241D8802}">
      <dgm:prSet/>
      <dgm:spPr/>
      <dgm:t>
        <a:bodyPr/>
        <a:lstStyle/>
        <a:p>
          <a:endParaRPr lang="en-US"/>
        </a:p>
      </dgm:t>
    </dgm:pt>
    <dgm:pt modelId="{2007EB75-D541-4663-B006-57D9F5FB905E}" type="sibTrans" cxnId="{784269AD-4E6C-4FAB-83F2-BD5D241D8802}">
      <dgm:prSet/>
      <dgm:spPr/>
      <dgm:t>
        <a:bodyPr/>
        <a:lstStyle/>
        <a:p>
          <a:endParaRPr lang="en-US"/>
        </a:p>
      </dgm:t>
    </dgm:pt>
    <dgm:pt modelId="{D3C85513-ACE9-4D66-93EE-697E393C99DB}">
      <dgm:prSet/>
      <dgm:spPr/>
      <dgm:t>
        <a:bodyPr/>
        <a:lstStyle/>
        <a:p>
          <a:endParaRPr lang="en-US"/>
        </a:p>
      </dgm:t>
    </dgm:pt>
    <dgm:pt modelId="{233D8CD9-E9BF-4212-BC73-96A8DF4632AE}" type="parTrans" cxnId="{6BBA632D-8CE9-45B3-9662-28AFB03A3F69}">
      <dgm:prSet/>
      <dgm:spPr/>
      <dgm:t>
        <a:bodyPr/>
        <a:lstStyle/>
        <a:p>
          <a:endParaRPr lang="en-US"/>
        </a:p>
      </dgm:t>
    </dgm:pt>
    <dgm:pt modelId="{FED87D4D-2311-4A2A-BA16-A7FD6ED40C73}" type="sibTrans" cxnId="{6BBA632D-8CE9-45B3-9662-28AFB03A3F69}">
      <dgm:prSet/>
      <dgm:spPr/>
      <dgm:t>
        <a:bodyPr/>
        <a:lstStyle/>
        <a:p>
          <a:endParaRPr lang="en-US"/>
        </a:p>
      </dgm:t>
    </dgm:pt>
    <dgm:pt modelId="{465EE844-77CF-4BD5-B7DF-977C1DB27171}" type="pres">
      <dgm:prSet presAssocID="{BE0D095A-7BB2-4CE0-B6A4-AEEB244D345B}" presName="vert0" presStyleCnt="0">
        <dgm:presLayoutVars>
          <dgm:dir/>
          <dgm:animOne val="branch"/>
          <dgm:animLvl val="lvl"/>
        </dgm:presLayoutVars>
      </dgm:prSet>
      <dgm:spPr/>
    </dgm:pt>
    <dgm:pt modelId="{7575B36E-BC38-4E79-9831-AA95F5265630}" type="pres">
      <dgm:prSet presAssocID="{962DE029-143F-49C7-8D7C-7F915573F722}" presName="thickLine" presStyleLbl="alignNode1" presStyleIdx="0" presStyleCnt="3"/>
      <dgm:spPr/>
    </dgm:pt>
    <dgm:pt modelId="{DA213C9A-D6B6-4D6E-AB0F-DF331878F740}" type="pres">
      <dgm:prSet presAssocID="{962DE029-143F-49C7-8D7C-7F915573F722}" presName="horz1" presStyleCnt="0"/>
      <dgm:spPr/>
    </dgm:pt>
    <dgm:pt modelId="{4A087B8D-3020-4E82-B82E-7FBB1B496231}" type="pres">
      <dgm:prSet presAssocID="{962DE029-143F-49C7-8D7C-7F915573F722}" presName="tx1" presStyleLbl="revTx" presStyleIdx="0" presStyleCnt="3"/>
      <dgm:spPr/>
    </dgm:pt>
    <dgm:pt modelId="{922DB88A-11BD-415D-A139-39BED1CF8DA5}" type="pres">
      <dgm:prSet presAssocID="{962DE029-143F-49C7-8D7C-7F915573F722}" presName="vert1" presStyleCnt="0"/>
      <dgm:spPr/>
    </dgm:pt>
    <dgm:pt modelId="{B0C8D242-0B1A-4710-8517-64BE0F45D7EA}" type="pres">
      <dgm:prSet presAssocID="{398F1FA2-5E05-49FD-93DA-698F8A48C29C}" presName="thickLine" presStyleLbl="alignNode1" presStyleIdx="1" presStyleCnt="3"/>
      <dgm:spPr/>
    </dgm:pt>
    <dgm:pt modelId="{427AE559-9934-46D9-A7A3-6D85A7D81FC9}" type="pres">
      <dgm:prSet presAssocID="{398F1FA2-5E05-49FD-93DA-698F8A48C29C}" presName="horz1" presStyleCnt="0"/>
      <dgm:spPr/>
    </dgm:pt>
    <dgm:pt modelId="{9AE32C9C-3CDE-44B0-93C1-EF492B612CD8}" type="pres">
      <dgm:prSet presAssocID="{398F1FA2-5E05-49FD-93DA-698F8A48C29C}" presName="tx1" presStyleLbl="revTx" presStyleIdx="1" presStyleCnt="3"/>
      <dgm:spPr/>
    </dgm:pt>
    <dgm:pt modelId="{946F9836-53B2-4A11-80E3-F172FCB92FF0}" type="pres">
      <dgm:prSet presAssocID="{398F1FA2-5E05-49FD-93DA-698F8A48C29C}" presName="vert1" presStyleCnt="0"/>
      <dgm:spPr/>
    </dgm:pt>
    <dgm:pt modelId="{28D7EA6E-4095-4F32-BFA1-431295B0D5E1}" type="pres">
      <dgm:prSet presAssocID="{D3C85513-ACE9-4D66-93EE-697E393C99DB}" presName="thickLine" presStyleLbl="alignNode1" presStyleIdx="2" presStyleCnt="3"/>
      <dgm:spPr/>
    </dgm:pt>
    <dgm:pt modelId="{EFBD8E68-443C-4B13-8B51-39C8A58A894C}" type="pres">
      <dgm:prSet presAssocID="{D3C85513-ACE9-4D66-93EE-697E393C99DB}" presName="horz1" presStyleCnt="0"/>
      <dgm:spPr/>
    </dgm:pt>
    <dgm:pt modelId="{5B149D5F-B10B-4ECB-9ACC-205599AE69CB}" type="pres">
      <dgm:prSet presAssocID="{D3C85513-ACE9-4D66-93EE-697E393C99DB}" presName="tx1" presStyleLbl="revTx" presStyleIdx="2" presStyleCnt="3"/>
      <dgm:spPr/>
    </dgm:pt>
    <dgm:pt modelId="{2599307C-095E-4715-B25C-964981B5FF47}" type="pres">
      <dgm:prSet presAssocID="{D3C85513-ACE9-4D66-93EE-697E393C99DB}" presName="vert1" presStyleCnt="0"/>
      <dgm:spPr/>
    </dgm:pt>
  </dgm:ptLst>
  <dgm:cxnLst>
    <dgm:cxn modelId="{6BBA632D-8CE9-45B3-9662-28AFB03A3F69}" srcId="{BE0D095A-7BB2-4CE0-B6A4-AEEB244D345B}" destId="{D3C85513-ACE9-4D66-93EE-697E393C99DB}" srcOrd="2" destOrd="0" parTransId="{233D8CD9-E9BF-4212-BC73-96A8DF4632AE}" sibTransId="{FED87D4D-2311-4A2A-BA16-A7FD6ED40C73}"/>
    <dgm:cxn modelId="{6B33A936-1277-4063-8462-A3F1329BAF74}" srcId="{BE0D095A-7BB2-4CE0-B6A4-AEEB244D345B}" destId="{962DE029-143F-49C7-8D7C-7F915573F722}" srcOrd="0" destOrd="0" parTransId="{836331BC-89F5-4B53-BDDE-2FAB9D87DDFE}" sibTransId="{8C89E285-1FD4-48F2-A84F-CA3FA780AEA6}"/>
    <dgm:cxn modelId="{8CB07C70-896E-46F8-AC06-4E7911DF7526}" type="presOf" srcId="{962DE029-143F-49C7-8D7C-7F915573F722}" destId="{4A087B8D-3020-4E82-B82E-7FBB1B496231}" srcOrd="0" destOrd="0" presId="urn:microsoft.com/office/officeart/2008/layout/LinedList"/>
    <dgm:cxn modelId="{61165983-874C-431D-BE9C-3E06B96AD19F}" type="presOf" srcId="{398F1FA2-5E05-49FD-93DA-698F8A48C29C}" destId="{9AE32C9C-3CDE-44B0-93C1-EF492B612CD8}" srcOrd="0" destOrd="0" presId="urn:microsoft.com/office/officeart/2008/layout/LinedList"/>
    <dgm:cxn modelId="{6163B488-495F-4D97-BD09-B18B0F745DFF}" type="presOf" srcId="{BE0D095A-7BB2-4CE0-B6A4-AEEB244D345B}" destId="{465EE844-77CF-4BD5-B7DF-977C1DB27171}" srcOrd="0" destOrd="0" presId="urn:microsoft.com/office/officeart/2008/layout/LinedList"/>
    <dgm:cxn modelId="{784269AD-4E6C-4FAB-83F2-BD5D241D8802}" srcId="{BE0D095A-7BB2-4CE0-B6A4-AEEB244D345B}" destId="{398F1FA2-5E05-49FD-93DA-698F8A48C29C}" srcOrd="1" destOrd="0" parTransId="{795B1E99-2D98-425E-B7A0-B3657351D53C}" sibTransId="{2007EB75-D541-4663-B006-57D9F5FB905E}"/>
    <dgm:cxn modelId="{4D668CFD-9B82-4C92-865C-E8048B2375FF}" type="presOf" srcId="{D3C85513-ACE9-4D66-93EE-697E393C99DB}" destId="{5B149D5F-B10B-4ECB-9ACC-205599AE69CB}" srcOrd="0" destOrd="0" presId="urn:microsoft.com/office/officeart/2008/layout/LinedList"/>
    <dgm:cxn modelId="{09FDA423-A5E6-44B4-BD10-09CF234330C6}" type="presParOf" srcId="{465EE844-77CF-4BD5-B7DF-977C1DB27171}" destId="{7575B36E-BC38-4E79-9831-AA95F5265630}" srcOrd="0" destOrd="0" presId="urn:microsoft.com/office/officeart/2008/layout/LinedList"/>
    <dgm:cxn modelId="{8CCD3828-512F-4B25-A652-1FADE7B4A2C8}" type="presParOf" srcId="{465EE844-77CF-4BD5-B7DF-977C1DB27171}" destId="{DA213C9A-D6B6-4D6E-AB0F-DF331878F740}" srcOrd="1" destOrd="0" presId="urn:microsoft.com/office/officeart/2008/layout/LinedList"/>
    <dgm:cxn modelId="{AD7A3EF2-BDA6-4D04-97EB-141B641C3ADA}" type="presParOf" srcId="{DA213C9A-D6B6-4D6E-AB0F-DF331878F740}" destId="{4A087B8D-3020-4E82-B82E-7FBB1B496231}" srcOrd="0" destOrd="0" presId="urn:microsoft.com/office/officeart/2008/layout/LinedList"/>
    <dgm:cxn modelId="{D497C5CE-81B7-4C31-AEBA-C4490DC886CA}" type="presParOf" srcId="{DA213C9A-D6B6-4D6E-AB0F-DF331878F740}" destId="{922DB88A-11BD-415D-A139-39BED1CF8DA5}" srcOrd="1" destOrd="0" presId="urn:microsoft.com/office/officeart/2008/layout/LinedList"/>
    <dgm:cxn modelId="{F35AF665-EAF8-43FE-887A-661D0F67B44F}" type="presParOf" srcId="{465EE844-77CF-4BD5-B7DF-977C1DB27171}" destId="{B0C8D242-0B1A-4710-8517-64BE0F45D7EA}" srcOrd="2" destOrd="0" presId="urn:microsoft.com/office/officeart/2008/layout/LinedList"/>
    <dgm:cxn modelId="{1CB0FF90-22FA-4511-95DD-B990DADE17C9}" type="presParOf" srcId="{465EE844-77CF-4BD5-B7DF-977C1DB27171}" destId="{427AE559-9934-46D9-A7A3-6D85A7D81FC9}" srcOrd="3" destOrd="0" presId="urn:microsoft.com/office/officeart/2008/layout/LinedList"/>
    <dgm:cxn modelId="{C20192DB-E24F-4E76-9911-8A37CB9F11BA}" type="presParOf" srcId="{427AE559-9934-46D9-A7A3-6D85A7D81FC9}" destId="{9AE32C9C-3CDE-44B0-93C1-EF492B612CD8}" srcOrd="0" destOrd="0" presId="urn:microsoft.com/office/officeart/2008/layout/LinedList"/>
    <dgm:cxn modelId="{87432DEA-113D-4CAE-8F67-BA5CB9D120CC}" type="presParOf" srcId="{427AE559-9934-46D9-A7A3-6D85A7D81FC9}" destId="{946F9836-53B2-4A11-80E3-F172FCB92FF0}" srcOrd="1" destOrd="0" presId="urn:microsoft.com/office/officeart/2008/layout/LinedList"/>
    <dgm:cxn modelId="{1490AB3A-218A-4CBC-A89E-A7AD3FE1DB99}" type="presParOf" srcId="{465EE844-77CF-4BD5-B7DF-977C1DB27171}" destId="{28D7EA6E-4095-4F32-BFA1-431295B0D5E1}" srcOrd="4" destOrd="0" presId="urn:microsoft.com/office/officeart/2008/layout/LinedList"/>
    <dgm:cxn modelId="{97231226-DCF3-4849-83E3-31EAF074DEAE}" type="presParOf" srcId="{465EE844-77CF-4BD5-B7DF-977C1DB27171}" destId="{EFBD8E68-443C-4B13-8B51-39C8A58A894C}" srcOrd="5" destOrd="0" presId="urn:microsoft.com/office/officeart/2008/layout/LinedList"/>
    <dgm:cxn modelId="{C82499F6-C0EC-434A-B898-7D245BE94C63}" type="presParOf" srcId="{EFBD8E68-443C-4B13-8B51-39C8A58A894C}" destId="{5B149D5F-B10B-4ECB-9ACC-205599AE69CB}" srcOrd="0" destOrd="0" presId="urn:microsoft.com/office/officeart/2008/layout/LinedList"/>
    <dgm:cxn modelId="{9CF70889-AB74-4075-AA5B-82EDBE41C796}" type="presParOf" srcId="{EFBD8E68-443C-4B13-8B51-39C8A58A894C}" destId="{2599307C-095E-4715-B25C-964981B5FF47}"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47368D0B-0430-4A91-94E1-D0097F6BB4FA}" type="doc">
      <dgm:prSet loTypeId="urn:diagrams.loki3.com/VaryingWidthList" loCatId="list" qsTypeId="urn:microsoft.com/office/officeart/2005/8/quickstyle/simple1" qsCatId="simple" csTypeId="urn:microsoft.com/office/officeart/2005/8/colors/accent2_2" csCatId="accent2" phldr="1"/>
      <dgm:spPr/>
      <dgm:t>
        <a:bodyPr/>
        <a:lstStyle/>
        <a:p>
          <a:endParaRPr lang="en-US"/>
        </a:p>
      </dgm:t>
    </dgm:pt>
    <dgm:pt modelId="{017CA063-7EEA-489C-87A9-E2147DD0A5AD}">
      <dgm:prSet custT="1"/>
      <dgm:spPr/>
      <dgm:t>
        <a:bodyPr/>
        <a:lstStyle/>
        <a:p>
          <a:pPr algn="ctr"/>
          <a:r>
            <a:rPr lang="en-US" sz="2400" b="1" dirty="0"/>
            <a:t>Try</a:t>
          </a:r>
          <a:endParaRPr lang="en-US" sz="2000" b="1" dirty="0"/>
        </a:p>
      </dgm:t>
    </dgm:pt>
    <dgm:pt modelId="{E0B8EF2F-113F-4507-B8FC-3374D37646B0}" type="parTrans" cxnId="{27388B70-3F24-45ED-AE22-CF9A1F9E0AC5}">
      <dgm:prSet/>
      <dgm:spPr/>
      <dgm:t>
        <a:bodyPr/>
        <a:lstStyle/>
        <a:p>
          <a:endParaRPr lang="en-US" sz="2000"/>
        </a:p>
      </dgm:t>
    </dgm:pt>
    <dgm:pt modelId="{BD1C0346-86D3-4E46-82D3-0636A98D6820}" type="sibTrans" cxnId="{27388B70-3F24-45ED-AE22-CF9A1F9E0AC5}">
      <dgm:prSet/>
      <dgm:spPr/>
      <dgm:t>
        <a:bodyPr/>
        <a:lstStyle/>
        <a:p>
          <a:endParaRPr lang="en-US" sz="2000"/>
        </a:p>
      </dgm:t>
    </dgm:pt>
    <dgm:pt modelId="{1635F56D-E788-4300-B08E-66F105414E60}">
      <dgm:prSet custT="1"/>
      <dgm:spPr/>
      <dgm:t>
        <a:bodyPr/>
        <a:lstStyle/>
        <a:p>
          <a:pPr algn="l"/>
          <a:r>
            <a:rPr lang="en-US" sz="2000" b="1" dirty="0"/>
            <a:t>Attempt</a:t>
          </a:r>
          <a:r>
            <a:rPr lang="en-US" sz="2000" dirty="0"/>
            <a:t> a code block that may result in </a:t>
          </a:r>
          <a:r>
            <a:rPr lang="en-US" sz="2000" b="1" dirty="0"/>
            <a:t>terminating</a:t>
          </a:r>
          <a:r>
            <a:rPr lang="en-US" sz="2000" dirty="0"/>
            <a:t> error</a:t>
          </a:r>
        </a:p>
      </dgm:t>
    </dgm:pt>
    <dgm:pt modelId="{58E16C08-E058-4264-A239-B00ACBD2A41C}" type="parTrans" cxnId="{F33CB2CA-1AB6-4B41-ACEC-70149B37A6CC}">
      <dgm:prSet/>
      <dgm:spPr/>
      <dgm:t>
        <a:bodyPr/>
        <a:lstStyle/>
        <a:p>
          <a:endParaRPr lang="en-US" sz="2000"/>
        </a:p>
      </dgm:t>
    </dgm:pt>
    <dgm:pt modelId="{993EC587-4929-4010-A6BE-20373D4ABDAE}" type="sibTrans" cxnId="{F33CB2CA-1AB6-4B41-ACEC-70149B37A6CC}">
      <dgm:prSet/>
      <dgm:spPr/>
      <dgm:t>
        <a:bodyPr/>
        <a:lstStyle/>
        <a:p>
          <a:endParaRPr lang="en-US" sz="2000"/>
        </a:p>
      </dgm:t>
    </dgm:pt>
    <dgm:pt modelId="{3A25F396-3993-40C8-ACE1-6100753554C6}">
      <dgm:prSet custT="1"/>
      <dgm:spPr/>
      <dgm:t>
        <a:bodyPr/>
        <a:lstStyle/>
        <a:p>
          <a:pPr algn="ctr"/>
          <a:r>
            <a:rPr lang="en-US" sz="2400" b="1" dirty="0"/>
            <a:t>Catch</a:t>
          </a:r>
          <a:endParaRPr lang="en-US" sz="2000" b="1" dirty="0"/>
        </a:p>
      </dgm:t>
    </dgm:pt>
    <dgm:pt modelId="{9F443CF8-BAD5-4D7B-8C3F-00C5B2AE8846}" type="parTrans" cxnId="{B0D103B2-7607-4880-AF30-065C2C18CF0D}">
      <dgm:prSet/>
      <dgm:spPr/>
      <dgm:t>
        <a:bodyPr/>
        <a:lstStyle/>
        <a:p>
          <a:endParaRPr lang="en-US" sz="2000"/>
        </a:p>
      </dgm:t>
    </dgm:pt>
    <dgm:pt modelId="{E68B217B-2C11-448A-B532-3BDBE2C3ACEB}" type="sibTrans" cxnId="{B0D103B2-7607-4880-AF30-065C2C18CF0D}">
      <dgm:prSet/>
      <dgm:spPr/>
      <dgm:t>
        <a:bodyPr/>
        <a:lstStyle/>
        <a:p>
          <a:endParaRPr lang="en-US" sz="2000"/>
        </a:p>
      </dgm:t>
    </dgm:pt>
    <dgm:pt modelId="{B4EEDC0E-9BE4-4C10-81BE-C00A6BCF4F3D}">
      <dgm:prSet custT="1"/>
      <dgm:spPr/>
      <dgm:t>
        <a:bodyPr/>
        <a:lstStyle/>
        <a:p>
          <a:pPr algn="l"/>
          <a:r>
            <a:rPr lang="en-US" sz="2000" dirty="0"/>
            <a:t>Code to execute if terminating error occurs within </a:t>
          </a:r>
          <a:r>
            <a:rPr lang="en-US" sz="2000" b="1" dirty="0"/>
            <a:t>Try { } </a:t>
          </a:r>
          <a:r>
            <a:rPr lang="en-US" sz="2000" dirty="0"/>
            <a:t>block</a:t>
          </a:r>
        </a:p>
      </dgm:t>
    </dgm:pt>
    <dgm:pt modelId="{E1F2798B-79DE-4534-8D50-D1EC1A3F0DAE}" type="parTrans" cxnId="{FA93D08D-160F-40BA-B6F0-36DC21833DE1}">
      <dgm:prSet/>
      <dgm:spPr/>
      <dgm:t>
        <a:bodyPr/>
        <a:lstStyle/>
        <a:p>
          <a:endParaRPr lang="en-US" sz="2000"/>
        </a:p>
      </dgm:t>
    </dgm:pt>
    <dgm:pt modelId="{FEF0F46E-9E76-4BA5-978C-AB829B07012D}" type="sibTrans" cxnId="{FA93D08D-160F-40BA-B6F0-36DC21833DE1}">
      <dgm:prSet/>
      <dgm:spPr/>
      <dgm:t>
        <a:bodyPr/>
        <a:lstStyle/>
        <a:p>
          <a:endParaRPr lang="en-US" sz="2000"/>
        </a:p>
      </dgm:t>
    </dgm:pt>
    <dgm:pt modelId="{770E2AAD-DFE2-442A-9D52-934DFD104122}">
      <dgm:prSet custT="1"/>
      <dgm:spPr/>
      <dgm:t>
        <a:bodyPr/>
        <a:lstStyle/>
        <a:p>
          <a:pPr algn="l"/>
          <a:r>
            <a:rPr lang="en-US" sz="2000" dirty="0"/>
            <a:t>Can be for </a:t>
          </a:r>
          <a:r>
            <a:rPr lang="en-US" sz="2000" b="1" dirty="0"/>
            <a:t>all</a:t>
          </a:r>
          <a:r>
            <a:rPr lang="en-US" sz="2000" dirty="0"/>
            <a:t> or </a:t>
          </a:r>
          <a:r>
            <a:rPr lang="en-US" sz="2000" b="1" dirty="0"/>
            <a:t>specific</a:t>
          </a:r>
          <a:r>
            <a:rPr lang="en-US" sz="2000" dirty="0"/>
            <a:t> exception types</a:t>
          </a:r>
        </a:p>
      </dgm:t>
    </dgm:pt>
    <dgm:pt modelId="{9BF68416-EBA5-43EA-9937-DF29ECA5B55D}" type="parTrans" cxnId="{96595DBB-560C-4E85-81D6-31598F14DF5C}">
      <dgm:prSet/>
      <dgm:spPr/>
      <dgm:t>
        <a:bodyPr/>
        <a:lstStyle/>
        <a:p>
          <a:endParaRPr lang="en-US" sz="2000"/>
        </a:p>
      </dgm:t>
    </dgm:pt>
    <dgm:pt modelId="{9ED9A70D-D725-4CAF-A856-034D13168B2C}" type="sibTrans" cxnId="{96595DBB-560C-4E85-81D6-31598F14DF5C}">
      <dgm:prSet/>
      <dgm:spPr/>
      <dgm:t>
        <a:bodyPr/>
        <a:lstStyle/>
        <a:p>
          <a:endParaRPr lang="en-US" sz="2000"/>
        </a:p>
      </dgm:t>
    </dgm:pt>
    <dgm:pt modelId="{FBB96376-8B42-406A-9D47-7D7115A25F57}">
      <dgm:prSet custT="1"/>
      <dgm:spPr/>
      <dgm:t>
        <a:bodyPr/>
        <a:lstStyle/>
        <a:p>
          <a:pPr algn="ctr"/>
          <a:r>
            <a:rPr lang="en-US" sz="2400" b="1" dirty="0"/>
            <a:t>Finally</a:t>
          </a:r>
          <a:endParaRPr lang="en-US" sz="2000" b="1" dirty="0"/>
        </a:p>
      </dgm:t>
    </dgm:pt>
    <dgm:pt modelId="{3417013F-719D-4A31-B1C3-E6DB9D87DCD0}" type="parTrans" cxnId="{275692A9-EE39-4F5E-8684-EDFA0161983B}">
      <dgm:prSet/>
      <dgm:spPr/>
      <dgm:t>
        <a:bodyPr/>
        <a:lstStyle/>
        <a:p>
          <a:endParaRPr lang="en-US" sz="2000"/>
        </a:p>
      </dgm:t>
    </dgm:pt>
    <dgm:pt modelId="{9AA79446-3501-4F02-B483-EA6C317EDE2A}" type="sibTrans" cxnId="{275692A9-EE39-4F5E-8684-EDFA0161983B}">
      <dgm:prSet/>
      <dgm:spPr/>
      <dgm:t>
        <a:bodyPr/>
        <a:lstStyle/>
        <a:p>
          <a:endParaRPr lang="en-US" sz="2000"/>
        </a:p>
      </dgm:t>
    </dgm:pt>
    <dgm:pt modelId="{6C3C79A1-AFD6-4325-ACDB-CC2E7DC636A4}">
      <dgm:prSet custT="1"/>
      <dgm:spPr/>
      <dgm:t>
        <a:bodyPr/>
        <a:lstStyle/>
        <a:p>
          <a:pPr algn="l"/>
          <a:r>
            <a:rPr lang="en-US" sz="2000" b="1" dirty="0"/>
            <a:t>Optional</a:t>
          </a:r>
          <a:r>
            <a:rPr lang="en-US" sz="2000" dirty="0"/>
            <a:t> block </a:t>
          </a:r>
          <a:r>
            <a:rPr lang="en-US" sz="2000" b="1" dirty="0"/>
            <a:t>guaranteed to run </a:t>
          </a:r>
          <a:r>
            <a:rPr lang="en-US" sz="2000" dirty="0"/>
            <a:t>regardless if error occurred</a:t>
          </a:r>
        </a:p>
      </dgm:t>
    </dgm:pt>
    <dgm:pt modelId="{5EB7EA9C-7616-4DAC-8AA1-D755A21D525B}" type="parTrans" cxnId="{6DDE07D5-6D56-4C6F-B37B-52834B2E60F1}">
      <dgm:prSet/>
      <dgm:spPr/>
      <dgm:t>
        <a:bodyPr/>
        <a:lstStyle/>
        <a:p>
          <a:endParaRPr lang="en-US" sz="2000"/>
        </a:p>
      </dgm:t>
    </dgm:pt>
    <dgm:pt modelId="{3AC0DA19-FDB0-44F6-A97D-0EB3D7874EA1}" type="sibTrans" cxnId="{6DDE07D5-6D56-4C6F-B37B-52834B2E60F1}">
      <dgm:prSet/>
      <dgm:spPr/>
      <dgm:t>
        <a:bodyPr/>
        <a:lstStyle/>
        <a:p>
          <a:endParaRPr lang="en-US" sz="2000"/>
        </a:p>
      </dgm:t>
    </dgm:pt>
    <dgm:pt modelId="{F476A723-4E68-4D50-808F-FE929FCFCDCE}">
      <dgm:prSet custT="1"/>
      <dgm:spPr/>
      <dgm:t>
        <a:bodyPr/>
        <a:lstStyle/>
        <a:p>
          <a:pPr algn="l"/>
          <a:r>
            <a:rPr lang="en-US" sz="2000" dirty="0"/>
            <a:t>Useful for </a:t>
          </a:r>
          <a:r>
            <a:rPr lang="en-US" sz="2000" b="1" dirty="0"/>
            <a:t>cleanup</a:t>
          </a:r>
          <a:r>
            <a:rPr lang="en-US" sz="2000" dirty="0"/>
            <a:t> code, like </a:t>
          </a:r>
          <a:r>
            <a:rPr lang="en-US" sz="2000" b="1" dirty="0"/>
            <a:t>.Dispose() </a:t>
          </a:r>
          <a:r>
            <a:rPr lang="en-US" sz="2000" dirty="0"/>
            <a:t>methods</a:t>
          </a:r>
        </a:p>
      </dgm:t>
    </dgm:pt>
    <dgm:pt modelId="{78784BF3-817F-41ED-9817-4D7B69F8AB95}" type="parTrans" cxnId="{2AAEE2D0-6985-4C40-B39E-E4588C4ACF92}">
      <dgm:prSet/>
      <dgm:spPr/>
      <dgm:t>
        <a:bodyPr/>
        <a:lstStyle/>
        <a:p>
          <a:endParaRPr lang="en-US" sz="2000"/>
        </a:p>
      </dgm:t>
    </dgm:pt>
    <dgm:pt modelId="{D3DFB5EB-984F-4354-A50D-33C8373E8353}" type="sibTrans" cxnId="{2AAEE2D0-6985-4C40-B39E-E4588C4ACF92}">
      <dgm:prSet/>
      <dgm:spPr/>
      <dgm:t>
        <a:bodyPr/>
        <a:lstStyle/>
        <a:p>
          <a:endParaRPr lang="en-US" sz="2000"/>
        </a:p>
      </dgm:t>
    </dgm:pt>
    <dgm:pt modelId="{405E7669-9AA8-4503-BFAA-A338A7DEC9AF}">
      <dgm:prSet custT="1"/>
      <dgm:spPr/>
      <dgm:t>
        <a:bodyPr/>
        <a:lstStyle/>
        <a:p>
          <a:pPr algn="l"/>
          <a:r>
            <a:rPr lang="en-US" sz="2000" b="1" dirty="0"/>
            <a:t>Must</a:t>
          </a:r>
          <a:r>
            <a:rPr lang="en-US" sz="2000" dirty="0"/>
            <a:t> have at least one </a:t>
          </a:r>
          <a:r>
            <a:rPr lang="en-US" sz="2000" b="1" dirty="0"/>
            <a:t>Catch { } </a:t>
          </a:r>
          <a:r>
            <a:rPr lang="en-US" sz="2000" dirty="0"/>
            <a:t>or </a:t>
          </a:r>
          <a:r>
            <a:rPr lang="en-US" sz="2000" b="1" dirty="0"/>
            <a:t>Finally { }</a:t>
          </a:r>
          <a:endParaRPr lang="en-US" sz="2000" dirty="0"/>
        </a:p>
      </dgm:t>
    </dgm:pt>
    <dgm:pt modelId="{D5B7BD6B-ED29-4FC3-8F63-BE003EE17C57}" type="parTrans" cxnId="{59A6D749-AB03-44C6-8217-4F7FE0E03435}">
      <dgm:prSet/>
      <dgm:spPr/>
      <dgm:t>
        <a:bodyPr/>
        <a:lstStyle/>
        <a:p>
          <a:endParaRPr lang="en-US" sz="2000"/>
        </a:p>
      </dgm:t>
    </dgm:pt>
    <dgm:pt modelId="{A1B9BEB0-A3AD-4A50-8A11-DCD0B22A4849}" type="sibTrans" cxnId="{59A6D749-AB03-44C6-8217-4F7FE0E03435}">
      <dgm:prSet/>
      <dgm:spPr/>
      <dgm:t>
        <a:bodyPr/>
        <a:lstStyle/>
        <a:p>
          <a:endParaRPr lang="en-US" sz="2000"/>
        </a:p>
      </dgm:t>
    </dgm:pt>
    <dgm:pt modelId="{D8C99122-7F0E-4E34-A73A-D8DF3C0F33CF}">
      <dgm:prSet custT="1"/>
      <dgm:spPr/>
      <dgm:t>
        <a:bodyPr/>
        <a:lstStyle/>
        <a:p>
          <a:pPr algn="l"/>
          <a:r>
            <a:rPr lang="en-US" sz="2000" b="1" dirty="0"/>
            <a:t>Multiple</a:t>
          </a:r>
          <a:r>
            <a:rPr lang="en-US" sz="2000" dirty="0"/>
            <a:t> </a:t>
          </a:r>
          <a:r>
            <a:rPr lang="en-US" sz="2000" b="1" dirty="0"/>
            <a:t>Catch { } </a:t>
          </a:r>
          <a:r>
            <a:rPr lang="en-US" sz="2000" dirty="0"/>
            <a:t>blocks can be defined</a:t>
          </a:r>
        </a:p>
      </dgm:t>
    </dgm:pt>
    <dgm:pt modelId="{959C998E-BE11-4A10-A909-22A091AFAD5F}" type="parTrans" cxnId="{708F21D5-8EA1-466F-BEA0-E0927DAA106C}">
      <dgm:prSet/>
      <dgm:spPr/>
      <dgm:t>
        <a:bodyPr/>
        <a:lstStyle/>
        <a:p>
          <a:endParaRPr lang="en-US" sz="2000"/>
        </a:p>
      </dgm:t>
    </dgm:pt>
    <dgm:pt modelId="{CA44D500-B94F-4494-8726-DFE7D70CFBC8}" type="sibTrans" cxnId="{708F21D5-8EA1-466F-BEA0-E0927DAA106C}">
      <dgm:prSet/>
      <dgm:spPr/>
      <dgm:t>
        <a:bodyPr/>
        <a:lstStyle/>
        <a:p>
          <a:endParaRPr lang="en-US" sz="2000"/>
        </a:p>
      </dgm:t>
    </dgm:pt>
    <dgm:pt modelId="{669CB33D-9525-4BE9-911B-CF831E632F5A}" type="pres">
      <dgm:prSet presAssocID="{47368D0B-0430-4A91-94E1-D0097F6BB4FA}" presName="Name0" presStyleCnt="0">
        <dgm:presLayoutVars>
          <dgm:resizeHandles/>
        </dgm:presLayoutVars>
      </dgm:prSet>
      <dgm:spPr/>
    </dgm:pt>
    <dgm:pt modelId="{DA335B95-CFE6-49D0-A49C-9391CFB9B8FB}" type="pres">
      <dgm:prSet presAssocID="{017CA063-7EEA-489C-87A9-E2147DD0A5AD}" presName="text" presStyleLbl="node1" presStyleIdx="0" presStyleCnt="3" custScaleX="106602">
        <dgm:presLayoutVars>
          <dgm:bulletEnabled val="1"/>
        </dgm:presLayoutVars>
      </dgm:prSet>
      <dgm:spPr/>
    </dgm:pt>
    <dgm:pt modelId="{CF5EB724-82ED-4F45-BCAB-9307192AAF43}" type="pres">
      <dgm:prSet presAssocID="{BD1C0346-86D3-4E46-82D3-0636A98D6820}" presName="space" presStyleCnt="0"/>
      <dgm:spPr/>
    </dgm:pt>
    <dgm:pt modelId="{EBD08D7D-2184-4FE3-B02B-7064BBAD40C0}" type="pres">
      <dgm:prSet presAssocID="{3A25F396-3993-40C8-ACE1-6100753554C6}" presName="text" presStyleLbl="node1" presStyleIdx="1" presStyleCnt="3" custScaleX="118571" custScaleY="115394">
        <dgm:presLayoutVars>
          <dgm:bulletEnabled val="1"/>
        </dgm:presLayoutVars>
      </dgm:prSet>
      <dgm:spPr/>
    </dgm:pt>
    <dgm:pt modelId="{746B2CAE-54FB-43DF-8D33-C89F732B9F28}" type="pres">
      <dgm:prSet presAssocID="{E68B217B-2C11-448A-B532-3BDBE2C3ACEB}" presName="space" presStyleCnt="0"/>
      <dgm:spPr/>
    </dgm:pt>
    <dgm:pt modelId="{8154026A-EE49-4116-B18E-321218315D52}" type="pres">
      <dgm:prSet presAssocID="{FBB96376-8B42-406A-9D47-7D7115A25F57}" presName="text" presStyleLbl="node1" presStyleIdx="2" presStyleCnt="3" custScaleY="107524">
        <dgm:presLayoutVars>
          <dgm:bulletEnabled val="1"/>
        </dgm:presLayoutVars>
      </dgm:prSet>
      <dgm:spPr/>
    </dgm:pt>
  </dgm:ptLst>
  <dgm:cxnLst>
    <dgm:cxn modelId="{6F077203-34E3-4031-8942-454F9A0DDF8D}" type="presOf" srcId="{1635F56D-E788-4300-B08E-66F105414E60}" destId="{DA335B95-CFE6-49D0-A49C-9391CFB9B8FB}" srcOrd="0" destOrd="1" presId="urn:diagrams.loki3.com/VaryingWidthList"/>
    <dgm:cxn modelId="{A30E1713-9793-4199-BEA8-93D8A5DA4FE5}" type="presOf" srcId="{405E7669-9AA8-4503-BFAA-A338A7DEC9AF}" destId="{DA335B95-CFE6-49D0-A49C-9391CFB9B8FB}" srcOrd="0" destOrd="2" presId="urn:diagrams.loki3.com/VaryingWidthList"/>
    <dgm:cxn modelId="{C2C3CA25-77DE-4FBB-99D5-83A6BFDF0872}" type="presOf" srcId="{47368D0B-0430-4A91-94E1-D0097F6BB4FA}" destId="{669CB33D-9525-4BE9-911B-CF831E632F5A}" srcOrd="0" destOrd="0" presId="urn:diagrams.loki3.com/VaryingWidthList"/>
    <dgm:cxn modelId="{465BEC46-3EBA-4EFD-81AC-F13292A64376}" type="presOf" srcId="{D8C99122-7F0E-4E34-A73A-D8DF3C0F33CF}" destId="{EBD08D7D-2184-4FE3-B02B-7064BBAD40C0}" srcOrd="0" destOrd="3" presId="urn:diagrams.loki3.com/VaryingWidthList"/>
    <dgm:cxn modelId="{59A6D749-AB03-44C6-8217-4F7FE0E03435}" srcId="{017CA063-7EEA-489C-87A9-E2147DD0A5AD}" destId="{405E7669-9AA8-4503-BFAA-A338A7DEC9AF}" srcOrd="1" destOrd="0" parTransId="{D5B7BD6B-ED29-4FC3-8F63-BE003EE17C57}" sibTransId="{A1B9BEB0-A3AD-4A50-8A11-DCD0B22A4849}"/>
    <dgm:cxn modelId="{B3BC044B-BC97-47EF-A648-282C0FFDAC27}" type="presOf" srcId="{3A25F396-3993-40C8-ACE1-6100753554C6}" destId="{EBD08D7D-2184-4FE3-B02B-7064BBAD40C0}" srcOrd="0" destOrd="0" presId="urn:diagrams.loki3.com/VaryingWidthList"/>
    <dgm:cxn modelId="{27388B70-3F24-45ED-AE22-CF9A1F9E0AC5}" srcId="{47368D0B-0430-4A91-94E1-D0097F6BB4FA}" destId="{017CA063-7EEA-489C-87A9-E2147DD0A5AD}" srcOrd="0" destOrd="0" parTransId="{E0B8EF2F-113F-4507-B8FC-3374D37646B0}" sibTransId="{BD1C0346-86D3-4E46-82D3-0636A98D6820}"/>
    <dgm:cxn modelId="{FA93D08D-160F-40BA-B6F0-36DC21833DE1}" srcId="{3A25F396-3993-40C8-ACE1-6100753554C6}" destId="{B4EEDC0E-9BE4-4C10-81BE-C00A6BCF4F3D}" srcOrd="0" destOrd="0" parTransId="{E1F2798B-79DE-4534-8D50-D1EC1A3F0DAE}" sibTransId="{FEF0F46E-9E76-4BA5-978C-AB829B07012D}"/>
    <dgm:cxn modelId="{B8C1E390-50A1-4053-984F-97002F8870CC}" type="presOf" srcId="{017CA063-7EEA-489C-87A9-E2147DD0A5AD}" destId="{DA335B95-CFE6-49D0-A49C-9391CFB9B8FB}" srcOrd="0" destOrd="0" presId="urn:diagrams.loki3.com/VaryingWidthList"/>
    <dgm:cxn modelId="{4D08B993-B0FD-44F0-83AB-1EE80A226A9D}" type="presOf" srcId="{6C3C79A1-AFD6-4325-ACDB-CC2E7DC636A4}" destId="{8154026A-EE49-4116-B18E-321218315D52}" srcOrd="0" destOrd="1" presId="urn:diagrams.loki3.com/VaryingWidthList"/>
    <dgm:cxn modelId="{F87031A3-A351-49F1-A71F-70E59B52118E}" type="presOf" srcId="{770E2AAD-DFE2-442A-9D52-934DFD104122}" destId="{EBD08D7D-2184-4FE3-B02B-7064BBAD40C0}" srcOrd="0" destOrd="2" presId="urn:diagrams.loki3.com/VaryingWidthList"/>
    <dgm:cxn modelId="{275692A9-EE39-4F5E-8684-EDFA0161983B}" srcId="{47368D0B-0430-4A91-94E1-D0097F6BB4FA}" destId="{FBB96376-8B42-406A-9D47-7D7115A25F57}" srcOrd="2" destOrd="0" parTransId="{3417013F-719D-4A31-B1C3-E6DB9D87DCD0}" sibTransId="{9AA79446-3501-4F02-B483-EA6C317EDE2A}"/>
    <dgm:cxn modelId="{B0D103B2-7607-4880-AF30-065C2C18CF0D}" srcId="{47368D0B-0430-4A91-94E1-D0097F6BB4FA}" destId="{3A25F396-3993-40C8-ACE1-6100753554C6}" srcOrd="1" destOrd="0" parTransId="{9F443CF8-BAD5-4D7B-8C3F-00C5B2AE8846}" sibTransId="{E68B217B-2C11-448A-B532-3BDBE2C3ACEB}"/>
    <dgm:cxn modelId="{96595DBB-560C-4E85-81D6-31598F14DF5C}" srcId="{3A25F396-3993-40C8-ACE1-6100753554C6}" destId="{770E2AAD-DFE2-442A-9D52-934DFD104122}" srcOrd="1" destOrd="0" parTransId="{9BF68416-EBA5-43EA-9937-DF29ECA5B55D}" sibTransId="{9ED9A70D-D725-4CAF-A856-034D13168B2C}"/>
    <dgm:cxn modelId="{F33CB2CA-1AB6-4B41-ACEC-70149B37A6CC}" srcId="{017CA063-7EEA-489C-87A9-E2147DD0A5AD}" destId="{1635F56D-E788-4300-B08E-66F105414E60}" srcOrd="0" destOrd="0" parTransId="{58E16C08-E058-4264-A239-B00ACBD2A41C}" sibTransId="{993EC587-4929-4010-A6BE-20373D4ABDAE}"/>
    <dgm:cxn modelId="{028A96CB-F6DD-41D3-81E4-EDC0F71C7C50}" type="presOf" srcId="{B4EEDC0E-9BE4-4C10-81BE-C00A6BCF4F3D}" destId="{EBD08D7D-2184-4FE3-B02B-7064BBAD40C0}" srcOrd="0" destOrd="1" presId="urn:diagrams.loki3.com/VaryingWidthList"/>
    <dgm:cxn modelId="{2AAEE2D0-6985-4C40-B39E-E4588C4ACF92}" srcId="{FBB96376-8B42-406A-9D47-7D7115A25F57}" destId="{F476A723-4E68-4D50-808F-FE929FCFCDCE}" srcOrd="1" destOrd="0" parTransId="{78784BF3-817F-41ED-9817-4D7B69F8AB95}" sibTransId="{D3DFB5EB-984F-4354-A50D-33C8373E8353}"/>
    <dgm:cxn modelId="{6DDE07D5-6D56-4C6F-B37B-52834B2E60F1}" srcId="{FBB96376-8B42-406A-9D47-7D7115A25F57}" destId="{6C3C79A1-AFD6-4325-ACDB-CC2E7DC636A4}" srcOrd="0" destOrd="0" parTransId="{5EB7EA9C-7616-4DAC-8AA1-D755A21D525B}" sibTransId="{3AC0DA19-FDB0-44F6-A97D-0EB3D7874EA1}"/>
    <dgm:cxn modelId="{708F21D5-8EA1-466F-BEA0-E0927DAA106C}" srcId="{3A25F396-3993-40C8-ACE1-6100753554C6}" destId="{D8C99122-7F0E-4E34-A73A-D8DF3C0F33CF}" srcOrd="2" destOrd="0" parTransId="{959C998E-BE11-4A10-A909-22A091AFAD5F}" sibTransId="{CA44D500-B94F-4494-8726-DFE7D70CFBC8}"/>
    <dgm:cxn modelId="{9E42A8D6-5B36-4892-B0E8-31C7F2E7B988}" type="presOf" srcId="{F476A723-4E68-4D50-808F-FE929FCFCDCE}" destId="{8154026A-EE49-4116-B18E-321218315D52}" srcOrd="0" destOrd="2" presId="urn:diagrams.loki3.com/VaryingWidthList"/>
    <dgm:cxn modelId="{AAE557E4-4A81-493F-8C56-28EFB4342F18}" type="presOf" srcId="{FBB96376-8B42-406A-9D47-7D7115A25F57}" destId="{8154026A-EE49-4116-B18E-321218315D52}" srcOrd="0" destOrd="0" presId="urn:diagrams.loki3.com/VaryingWidthList"/>
    <dgm:cxn modelId="{DC5570F0-9185-4894-9D0E-30A3B12B238A}" type="presParOf" srcId="{669CB33D-9525-4BE9-911B-CF831E632F5A}" destId="{DA335B95-CFE6-49D0-A49C-9391CFB9B8FB}" srcOrd="0" destOrd="0" presId="urn:diagrams.loki3.com/VaryingWidthList"/>
    <dgm:cxn modelId="{E57ECB41-8F7B-4F4F-A474-8D8663A50172}" type="presParOf" srcId="{669CB33D-9525-4BE9-911B-CF831E632F5A}" destId="{CF5EB724-82ED-4F45-BCAB-9307192AAF43}" srcOrd="1" destOrd="0" presId="urn:diagrams.loki3.com/VaryingWidthList"/>
    <dgm:cxn modelId="{F56A55C1-3EAC-460A-8C03-2356B701BDCF}" type="presParOf" srcId="{669CB33D-9525-4BE9-911B-CF831E632F5A}" destId="{EBD08D7D-2184-4FE3-B02B-7064BBAD40C0}" srcOrd="2" destOrd="0" presId="urn:diagrams.loki3.com/VaryingWidthList"/>
    <dgm:cxn modelId="{A1FE9CA3-74FD-4E93-8125-C50CF76C2854}" type="presParOf" srcId="{669CB33D-9525-4BE9-911B-CF831E632F5A}" destId="{746B2CAE-54FB-43DF-8D33-C89F732B9F28}" srcOrd="3" destOrd="0" presId="urn:diagrams.loki3.com/VaryingWidthList"/>
    <dgm:cxn modelId="{03FA4A17-AC28-42C6-A9BE-965C5E92C811}" type="presParOf" srcId="{669CB33D-9525-4BE9-911B-CF831E632F5A}" destId="{8154026A-EE49-4116-B18E-321218315D52}" srcOrd="4" destOrd="0" presId="urn:diagrams.loki3.com/VaryingWidth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B8E496E4-1221-4EF8-8C47-6E82C3DC84F9}" type="doc">
      <dgm:prSet loTypeId="urn:microsoft.com/office/officeart/2005/8/layout/vProcess5" loCatId="process" qsTypeId="urn:microsoft.com/office/officeart/2005/8/quickstyle/simple1" qsCatId="simple" csTypeId="urn:microsoft.com/office/officeart/2005/8/colors/accent2_2" csCatId="accent2" phldr="1"/>
      <dgm:spPr/>
      <dgm:t>
        <a:bodyPr/>
        <a:lstStyle/>
        <a:p>
          <a:endParaRPr lang="en-US"/>
        </a:p>
      </dgm:t>
    </dgm:pt>
    <dgm:pt modelId="{C03524A2-1C3D-4BEA-B753-DCE32890B87D}">
      <dgm:prSet phldrT="[Text]" custT="1"/>
      <dgm:spPr/>
      <dgm:t>
        <a:bodyPr/>
        <a:lstStyle/>
        <a:p>
          <a:r>
            <a:rPr lang="en-US" sz="2000"/>
            <a:t>Determine error type</a:t>
          </a:r>
        </a:p>
      </dgm:t>
    </dgm:pt>
    <dgm:pt modelId="{0276DB72-5B47-454D-B30A-786DE23DA11A}" type="parTrans" cxnId="{614AA38B-86F6-4565-84BC-4CB9FE2EF237}">
      <dgm:prSet/>
      <dgm:spPr/>
      <dgm:t>
        <a:bodyPr/>
        <a:lstStyle/>
        <a:p>
          <a:endParaRPr lang="en-US"/>
        </a:p>
      </dgm:t>
    </dgm:pt>
    <dgm:pt modelId="{D597A63D-6A02-4464-8CE6-4B4C34E196ED}" type="sibTrans" cxnId="{614AA38B-86F6-4565-84BC-4CB9FE2EF237}">
      <dgm:prSet custT="1"/>
      <dgm:spPr/>
      <dgm:t>
        <a:bodyPr/>
        <a:lstStyle/>
        <a:p>
          <a:endParaRPr lang="en-US" sz="2000"/>
        </a:p>
      </dgm:t>
    </dgm:pt>
    <dgm:pt modelId="{640098D8-3755-499B-9366-E0690DEC40C2}">
      <dgm:prSet phldrT="[Text]" custT="1"/>
      <dgm:spPr/>
      <dgm:t>
        <a:bodyPr/>
        <a:lstStyle/>
        <a:p>
          <a:r>
            <a:rPr lang="en-US" sz="2000"/>
            <a:t>Create </a:t>
          </a:r>
          <a:r>
            <a:rPr lang="en-US" sz="2000" b="1"/>
            <a:t>trap </a:t>
          </a:r>
          <a:r>
            <a:rPr lang="en-US" sz="2000" b="0"/>
            <a:t>block</a:t>
          </a:r>
          <a:r>
            <a:rPr lang="en-US" sz="2000"/>
            <a:t>(s) for the error type</a:t>
          </a:r>
        </a:p>
      </dgm:t>
    </dgm:pt>
    <dgm:pt modelId="{79F5ABD9-1DB7-46B6-9FD1-D8BF1DF1ED03}" type="parTrans" cxnId="{E19D91B2-7AB8-487E-9C17-965D697AE8F3}">
      <dgm:prSet/>
      <dgm:spPr/>
      <dgm:t>
        <a:bodyPr/>
        <a:lstStyle/>
        <a:p>
          <a:endParaRPr lang="en-US"/>
        </a:p>
      </dgm:t>
    </dgm:pt>
    <dgm:pt modelId="{133238E9-2152-4EC4-8B3A-4011A7A83FD7}" type="sibTrans" cxnId="{E19D91B2-7AB8-487E-9C17-965D697AE8F3}">
      <dgm:prSet custT="1"/>
      <dgm:spPr/>
      <dgm:t>
        <a:bodyPr/>
        <a:lstStyle/>
        <a:p>
          <a:endParaRPr lang="en-US" sz="2000"/>
        </a:p>
      </dgm:t>
    </dgm:pt>
    <dgm:pt modelId="{C40C5CFD-BD99-4990-93C7-637D25E05832}">
      <dgm:prSet phldrT="[Text]" custT="1"/>
      <dgm:spPr/>
      <dgm:t>
        <a:bodyPr/>
        <a:lstStyle/>
        <a:p>
          <a:r>
            <a:rPr lang="en-US" sz="2000"/>
            <a:t>Execute code</a:t>
          </a:r>
        </a:p>
      </dgm:t>
    </dgm:pt>
    <dgm:pt modelId="{6BE510D2-FF4D-4BA9-9199-A9325319567C}" type="parTrans" cxnId="{D2AD62E0-5195-4F53-B910-13CBD14F480A}">
      <dgm:prSet/>
      <dgm:spPr/>
      <dgm:t>
        <a:bodyPr/>
        <a:lstStyle/>
        <a:p>
          <a:endParaRPr lang="en-US"/>
        </a:p>
      </dgm:t>
    </dgm:pt>
    <dgm:pt modelId="{01AADA5D-3FD5-48C6-8AF1-05F56F34B22C}" type="sibTrans" cxnId="{D2AD62E0-5195-4F53-B910-13CBD14F480A}">
      <dgm:prSet custT="1"/>
      <dgm:spPr/>
      <dgm:t>
        <a:bodyPr/>
        <a:lstStyle/>
        <a:p>
          <a:endParaRPr lang="en-US" sz="2000"/>
        </a:p>
      </dgm:t>
    </dgm:pt>
    <dgm:pt modelId="{AF7F62E9-D50C-4E9F-8D02-57A3F9E41E86}">
      <dgm:prSet phldrT="[Text]" custT="1"/>
      <dgm:spPr/>
      <dgm:t>
        <a:bodyPr/>
        <a:lstStyle/>
        <a:p>
          <a:r>
            <a:rPr lang="en-US" sz="2000"/>
            <a:t>Terminating error triggers the trap code</a:t>
          </a:r>
        </a:p>
      </dgm:t>
    </dgm:pt>
    <dgm:pt modelId="{B308B842-EDE3-40E2-B84F-A82EBEFD9DD3}" type="parTrans" cxnId="{E7D0FCE7-BC71-4E49-BED3-16E57BF39B72}">
      <dgm:prSet/>
      <dgm:spPr/>
      <dgm:t>
        <a:bodyPr/>
        <a:lstStyle/>
        <a:p>
          <a:endParaRPr lang="en-US"/>
        </a:p>
      </dgm:t>
    </dgm:pt>
    <dgm:pt modelId="{929AA622-F390-457C-8FD0-7E64912C22CA}" type="sibTrans" cxnId="{E7D0FCE7-BC71-4E49-BED3-16E57BF39B72}">
      <dgm:prSet/>
      <dgm:spPr/>
      <dgm:t>
        <a:bodyPr/>
        <a:lstStyle/>
        <a:p>
          <a:endParaRPr lang="en-US"/>
        </a:p>
      </dgm:t>
    </dgm:pt>
    <dgm:pt modelId="{CA1DD2DB-B6B7-44BB-A8D2-2E5D910181DF}">
      <dgm:prSet phldrT="[Text]" custT="1"/>
      <dgm:spPr>
        <a:noFill/>
      </dgm:spPr>
      <dgm:t>
        <a:bodyPr/>
        <a:lstStyle/>
        <a:p>
          <a:endParaRPr lang="en-US" sz="2000"/>
        </a:p>
      </dgm:t>
    </dgm:pt>
    <dgm:pt modelId="{DBD07C5E-1BBC-4540-A359-43B3D46D3AA4}" type="parTrans" cxnId="{128EE66B-515B-4059-9DC0-F545CBCF61E6}">
      <dgm:prSet/>
      <dgm:spPr/>
      <dgm:t>
        <a:bodyPr/>
        <a:lstStyle/>
        <a:p>
          <a:endParaRPr lang="en-US"/>
        </a:p>
      </dgm:t>
    </dgm:pt>
    <dgm:pt modelId="{F9533A0A-5B67-4AF2-A597-CAABC663266A}" type="sibTrans" cxnId="{128EE66B-515B-4059-9DC0-F545CBCF61E6}">
      <dgm:prSet/>
      <dgm:spPr/>
      <dgm:t>
        <a:bodyPr/>
        <a:lstStyle/>
        <a:p>
          <a:endParaRPr lang="en-US"/>
        </a:p>
      </dgm:t>
    </dgm:pt>
    <dgm:pt modelId="{3705BD65-CB83-4963-ADFD-24A3C1DE4C21}" type="pres">
      <dgm:prSet presAssocID="{B8E496E4-1221-4EF8-8C47-6E82C3DC84F9}" presName="outerComposite" presStyleCnt="0">
        <dgm:presLayoutVars>
          <dgm:chMax val="5"/>
          <dgm:dir/>
          <dgm:resizeHandles val="exact"/>
        </dgm:presLayoutVars>
      </dgm:prSet>
      <dgm:spPr/>
    </dgm:pt>
    <dgm:pt modelId="{CBB9E650-BDFE-42AA-98C7-53F1EF0301F4}" type="pres">
      <dgm:prSet presAssocID="{B8E496E4-1221-4EF8-8C47-6E82C3DC84F9}" presName="dummyMaxCanvas" presStyleCnt="0">
        <dgm:presLayoutVars/>
      </dgm:prSet>
      <dgm:spPr/>
    </dgm:pt>
    <dgm:pt modelId="{6396EC4C-133A-47E7-A143-9D38415F85F8}" type="pres">
      <dgm:prSet presAssocID="{B8E496E4-1221-4EF8-8C47-6E82C3DC84F9}" presName="FiveNodes_1" presStyleLbl="node1" presStyleIdx="0" presStyleCnt="5">
        <dgm:presLayoutVars>
          <dgm:bulletEnabled val="1"/>
        </dgm:presLayoutVars>
      </dgm:prSet>
      <dgm:spPr/>
    </dgm:pt>
    <dgm:pt modelId="{25A02B05-B0CD-41CA-A921-152375AAF900}" type="pres">
      <dgm:prSet presAssocID="{B8E496E4-1221-4EF8-8C47-6E82C3DC84F9}" presName="FiveNodes_2" presStyleLbl="node1" presStyleIdx="1" presStyleCnt="5">
        <dgm:presLayoutVars>
          <dgm:bulletEnabled val="1"/>
        </dgm:presLayoutVars>
      </dgm:prSet>
      <dgm:spPr/>
    </dgm:pt>
    <dgm:pt modelId="{58F858D3-62CE-4F51-8B91-B8C5A476ADF7}" type="pres">
      <dgm:prSet presAssocID="{B8E496E4-1221-4EF8-8C47-6E82C3DC84F9}" presName="FiveNodes_3" presStyleLbl="node1" presStyleIdx="2" presStyleCnt="5">
        <dgm:presLayoutVars>
          <dgm:bulletEnabled val="1"/>
        </dgm:presLayoutVars>
      </dgm:prSet>
      <dgm:spPr/>
    </dgm:pt>
    <dgm:pt modelId="{F80577EB-6FEE-48D4-8E7A-D52D9B80C560}" type="pres">
      <dgm:prSet presAssocID="{B8E496E4-1221-4EF8-8C47-6E82C3DC84F9}" presName="FiveNodes_4" presStyleLbl="node1" presStyleIdx="3" presStyleCnt="5">
        <dgm:presLayoutVars>
          <dgm:bulletEnabled val="1"/>
        </dgm:presLayoutVars>
      </dgm:prSet>
      <dgm:spPr/>
    </dgm:pt>
    <dgm:pt modelId="{C1B7AF34-209D-42D2-81F6-835348D13CD3}" type="pres">
      <dgm:prSet presAssocID="{B8E496E4-1221-4EF8-8C47-6E82C3DC84F9}" presName="FiveNodes_5" presStyleLbl="node1" presStyleIdx="4" presStyleCnt="5">
        <dgm:presLayoutVars>
          <dgm:bulletEnabled val="1"/>
        </dgm:presLayoutVars>
      </dgm:prSet>
      <dgm:spPr/>
    </dgm:pt>
    <dgm:pt modelId="{AF055301-1112-4241-A4FE-7C93897A5AB7}" type="pres">
      <dgm:prSet presAssocID="{B8E496E4-1221-4EF8-8C47-6E82C3DC84F9}" presName="FiveConn_1-2" presStyleLbl="fgAccFollowNode1" presStyleIdx="0" presStyleCnt="4">
        <dgm:presLayoutVars>
          <dgm:bulletEnabled val="1"/>
        </dgm:presLayoutVars>
      </dgm:prSet>
      <dgm:spPr/>
    </dgm:pt>
    <dgm:pt modelId="{7F723226-71E3-46FB-93D1-F871F8BC2177}" type="pres">
      <dgm:prSet presAssocID="{B8E496E4-1221-4EF8-8C47-6E82C3DC84F9}" presName="FiveConn_2-3" presStyleLbl="fgAccFollowNode1" presStyleIdx="1" presStyleCnt="4">
        <dgm:presLayoutVars>
          <dgm:bulletEnabled val="1"/>
        </dgm:presLayoutVars>
      </dgm:prSet>
      <dgm:spPr/>
    </dgm:pt>
    <dgm:pt modelId="{CA7BDE0D-31C1-4E95-AA25-DA70320A4D69}" type="pres">
      <dgm:prSet presAssocID="{B8E496E4-1221-4EF8-8C47-6E82C3DC84F9}" presName="FiveConn_3-4" presStyleLbl="fgAccFollowNode1" presStyleIdx="2" presStyleCnt="4">
        <dgm:presLayoutVars>
          <dgm:bulletEnabled val="1"/>
        </dgm:presLayoutVars>
      </dgm:prSet>
      <dgm:spPr/>
    </dgm:pt>
    <dgm:pt modelId="{D20A181B-F0A4-4DBC-8E5F-BEEE5FA8E4B8}" type="pres">
      <dgm:prSet presAssocID="{B8E496E4-1221-4EF8-8C47-6E82C3DC84F9}" presName="FiveConn_4-5" presStyleLbl="fgAccFollowNode1" presStyleIdx="3" presStyleCnt="4">
        <dgm:presLayoutVars>
          <dgm:bulletEnabled val="1"/>
        </dgm:presLayoutVars>
      </dgm:prSet>
      <dgm:spPr/>
    </dgm:pt>
    <dgm:pt modelId="{ED61738C-8C0C-4205-9A55-AAC6C26D4365}" type="pres">
      <dgm:prSet presAssocID="{B8E496E4-1221-4EF8-8C47-6E82C3DC84F9}" presName="FiveNodes_1_text" presStyleLbl="node1" presStyleIdx="4" presStyleCnt="5">
        <dgm:presLayoutVars>
          <dgm:bulletEnabled val="1"/>
        </dgm:presLayoutVars>
      </dgm:prSet>
      <dgm:spPr/>
    </dgm:pt>
    <dgm:pt modelId="{39AD6F30-77B2-430C-BE9E-EA7B1ADF421E}" type="pres">
      <dgm:prSet presAssocID="{B8E496E4-1221-4EF8-8C47-6E82C3DC84F9}" presName="FiveNodes_2_text" presStyleLbl="node1" presStyleIdx="4" presStyleCnt="5">
        <dgm:presLayoutVars>
          <dgm:bulletEnabled val="1"/>
        </dgm:presLayoutVars>
      </dgm:prSet>
      <dgm:spPr/>
    </dgm:pt>
    <dgm:pt modelId="{13FB1F42-2EF9-4670-9B92-3FB969E49AB4}" type="pres">
      <dgm:prSet presAssocID="{B8E496E4-1221-4EF8-8C47-6E82C3DC84F9}" presName="FiveNodes_3_text" presStyleLbl="node1" presStyleIdx="4" presStyleCnt="5">
        <dgm:presLayoutVars>
          <dgm:bulletEnabled val="1"/>
        </dgm:presLayoutVars>
      </dgm:prSet>
      <dgm:spPr/>
    </dgm:pt>
    <dgm:pt modelId="{7DEC9936-313C-4C11-B277-F64E327BCBDC}" type="pres">
      <dgm:prSet presAssocID="{B8E496E4-1221-4EF8-8C47-6E82C3DC84F9}" presName="FiveNodes_4_text" presStyleLbl="node1" presStyleIdx="4" presStyleCnt="5">
        <dgm:presLayoutVars>
          <dgm:bulletEnabled val="1"/>
        </dgm:presLayoutVars>
      </dgm:prSet>
      <dgm:spPr/>
    </dgm:pt>
    <dgm:pt modelId="{2CF8CCBE-22E0-48A8-88DF-8534DDCCCF6D}" type="pres">
      <dgm:prSet presAssocID="{B8E496E4-1221-4EF8-8C47-6E82C3DC84F9}" presName="FiveNodes_5_text" presStyleLbl="node1" presStyleIdx="4" presStyleCnt="5">
        <dgm:presLayoutVars>
          <dgm:bulletEnabled val="1"/>
        </dgm:presLayoutVars>
      </dgm:prSet>
      <dgm:spPr/>
    </dgm:pt>
  </dgm:ptLst>
  <dgm:cxnLst>
    <dgm:cxn modelId="{F3733C06-F1DA-4EC6-A4E3-919CC5CCD61A}" type="presOf" srcId="{AF7F62E9-D50C-4E9F-8D02-57A3F9E41E86}" destId="{7DEC9936-313C-4C11-B277-F64E327BCBDC}" srcOrd="1" destOrd="0" presId="urn:microsoft.com/office/officeart/2005/8/layout/vProcess5"/>
    <dgm:cxn modelId="{3A94FC21-9979-4070-A3B5-FC3F54EFF30F}" type="presOf" srcId="{CA1DD2DB-B6B7-44BB-A8D2-2E5D910181DF}" destId="{2CF8CCBE-22E0-48A8-88DF-8534DDCCCF6D}" srcOrd="1" destOrd="0" presId="urn:microsoft.com/office/officeart/2005/8/layout/vProcess5"/>
    <dgm:cxn modelId="{9DDF1928-221F-47F8-83B8-D6FC6649ED12}" type="presOf" srcId="{929AA622-F390-457C-8FD0-7E64912C22CA}" destId="{D20A181B-F0A4-4DBC-8E5F-BEEE5FA8E4B8}" srcOrd="0" destOrd="0" presId="urn:microsoft.com/office/officeart/2005/8/layout/vProcess5"/>
    <dgm:cxn modelId="{D25FCC35-61FB-4C89-9612-89E5EA827616}" type="presOf" srcId="{CA1DD2DB-B6B7-44BB-A8D2-2E5D910181DF}" destId="{C1B7AF34-209D-42D2-81F6-835348D13CD3}" srcOrd="0" destOrd="0" presId="urn:microsoft.com/office/officeart/2005/8/layout/vProcess5"/>
    <dgm:cxn modelId="{128EE66B-515B-4059-9DC0-F545CBCF61E6}" srcId="{B8E496E4-1221-4EF8-8C47-6E82C3DC84F9}" destId="{CA1DD2DB-B6B7-44BB-A8D2-2E5D910181DF}" srcOrd="4" destOrd="0" parTransId="{DBD07C5E-1BBC-4540-A359-43B3D46D3AA4}" sibTransId="{F9533A0A-5B67-4AF2-A597-CAABC663266A}"/>
    <dgm:cxn modelId="{B93D2674-1EF0-4912-8018-5765F9E97F3D}" type="presOf" srcId="{133238E9-2152-4EC4-8B3A-4011A7A83FD7}" destId="{7F723226-71E3-46FB-93D1-F871F8BC2177}" srcOrd="0" destOrd="0" presId="urn:microsoft.com/office/officeart/2005/8/layout/vProcess5"/>
    <dgm:cxn modelId="{E850DF77-A6B3-4BBE-9987-86C1692078A7}" type="presOf" srcId="{01AADA5D-3FD5-48C6-8AF1-05F56F34B22C}" destId="{CA7BDE0D-31C1-4E95-AA25-DA70320A4D69}" srcOrd="0" destOrd="0" presId="urn:microsoft.com/office/officeart/2005/8/layout/vProcess5"/>
    <dgm:cxn modelId="{6F22A384-AB16-4EAC-BD48-490920A5C9AE}" type="presOf" srcId="{D597A63D-6A02-4464-8CE6-4B4C34E196ED}" destId="{AF055301-1112-4241-A4FE-7C93897A5AB7}" srcOrd="0" destOrd="0" presId="urn:microsoft.com/office/officeart/2005/8/layout/vProcess5"/>
    <dgm:cxn modelId="{614AA38B-86F6-4565-84BC-4CB9FE2EF237}" srcId="{B8E496E4-1221-4EF8-8C47-6E82C3DC84F9}" destId="{C03524A2-1C3D-4BEA-B753-DCE32890B87D}" srcOrd="0" destOrd="0" parTransId="{0276DB72-5B47-454D-B30A-786DE23DA11A}" sibTransId="{D597A63D-6A02-4464-8CE6-4B4C34E196ED}"/>
    <dgm:cxn modelId="{419BC095-B370-4D50-AA07-8FB979F8D5A4}" type="presOf" srcId="{C40C5CFD-BD99-4990-93C7-637D25E05832}" destId="{13FB1F42-2EF9-4670-9B92-3FB969E49AB4}" srcOrd="1" destOrd="0" presId="urn:microsoft.com/office/officeart/2005/8/layout/vProcess5"/>
    <dgm:cxn modelId="{358FB4B0-C79F-43D0-AB68-FF6A06DDE3F0}" type="presOf" srcId="{640098D8-3755-499B-9366-E0690DEC40C2}" destId="{25A02B05-B0CD-41CA-A921-152375AAF900}" srcOrd="0" destOrd="0" presId="urn:microsoft.com/office/officeart/2005/8/layout/vProcess5"/>
    <dgm:cxn modelId="{B58CDDB1-A567-42BC-B431-24E19E37D229}" type="presOf" srcId="{C03524A2-1C3D-4BEA-B753-DCE32890B87D}" destId="{ED61738C-8C0C-4205-9A55-AAC6C26D4365}" srcOrd="1" destOrd="0" presId="urn:microsoft.com/office/officeart/2005/8/layout/vProcess5"/>
    <dgm:cxn modelId="{E19D91B2-7AB8-487E-9C17-965D697AE8F3}" srcId="{B8E496E4-1221-4EF8-8C47-6E82C3DC84F9}" destId="{640098D8-3755-499B-9366-E0690DEC40C2}" srcOrd="1" destOrd="0" parTransId="{79F5ABD9-1DB7-46B6-9FD1-D8BF1DF1ED03}" sibTransId="{133238E9-2152-4EC4-8B3A-4011A7A83FD7}"/>
    <dgm:cxn modelId="{C8D9F2D4-4527-4377-B0CE-0C55D54CEE7F}" type="presOf" srcId="{B8E496E4-1221-4EF8-8C47-6E82C3DC84F9}" destId="{3705BD65-CB83-4963-ADFD-24A3C1DE4C21}" srcOrd="0" destOrd="0" presId="urn:microsoft.com/office/officeart/2005/8/layout/vProcess5"/>
    <dgm:cxn modelId="{BA6B5AD6-BC12-4516-86AB-4AEA0D0838CB}" type="presOf" srcId="{C40C5CFD-BD99-4990-93C7-637D25E05832}" destId="{58F858D3-62CE-4F51-8B91-B8C5A476ADF7}" srcOrd="0" destOrd="0" presId="urn:microsoft.com/office/officeart/2005/8/layout/vProcess5"/>
    <dgm:cxn modelId="{A7A92AD8-7275-499E-83E2-FE120588B365}" type="presOf" srcId="{C03524A2-1C3D-4BEA-B753-DCE32890B87D}" destId="{6396EC4C-133A-47E7-A143-9D38415F85F8}" srcOrd="0" destOrd="0" presId="urn:microsoft.com/office/officeart/2005/8/layout/vProcess5"/>
    <dgm:cxn modelId="{54CB6FDE-8AC8-420A-A43B-6BBA3FF9B580}" type="presOf" srcId="{AF7F62E9-D50C-4E9F-8D02-57A3F9E41E86}" destId="{F80577EB-6FEE-48D4-8E7A-D52D9B80C560}" srcOrd="0" destOrd="0" presId="urn:microsoft.com/office/officeart/2005/8/layout/vProcess5"/>
    <dgm:cxn modelId="{D2AD62E0-5195-4F53-B910-13CBD14F480A}" srcId="{B8E496E4-1221-4EF8-8C47-6E82C3DC84F9}" destId="{C40C5CFD-BD99-4990-93C7-637D25E05832}" srcOrd="2" destOrd="0" parTransId="{6BE510D2-FF4D-4BA9-9199-A9325319567C}" sibTransId="{01AADA5D-3FD5-48C6-8AF1-05F56F34B22C}"/>
    <dgm:cxn modelId="{AE45DAE2-96CF-4985-8E5B-C1F72082934D}" type="presOf" srcId="{640098D8-3755-499B-9366-E0690DEC40C2}" destId="{39AD6F30-77B2-430C-BE9E-EA7B1ADF421E}" srcOrd="1" destOrd="0" presId="urn:microsoft.com/office/officeart/2005/8/layout/vProcess5"/>
    <dgm:cxn modelId="{E7D0FCE7-BC71-4E49-BED3-16E57BF39B72}" srcId="{B8E496E4-1221-4EF8-8C47-6E82C3DC84F9}" destId="{AF7F62E9-D50C-4E9F-8D02-57A3F9E41E86}" srcOrd="3" destOrd="0" parTransId="{B308B842-EDE3-40E2-B84F-A82EBEFD9DD3}" sibTransId="{929AA622-F390-457C-8FD0-7E64912C22CA}"/>
    <dgm:cxn modelId="{535B2AE5-5729-4641-9E3A-C33A1296F0F5}" type="presParOf" srcId="{3705BD65-CB83-4963-ADFD-24A3C1DE4C21}" destId="{CBB9E650-BDFE-42AA-98C7-53F1EF0301F4}" srcOrd="0" destOrd="0" presId="urn:microsoft.com/office/officeart/2005/8/layout/vProcess5"/>
    <dgm:cxn modelId="{5D1247BF-07D1-482D-AC26-3B7DC6691CBC}" type="presParOf" srcId="{3705BD65-CB83-4963-ADFD-24A3C1DE4C21}" destId="{6396EC4C-133A-47E7-A143-9D38415F85F8}" srcOrd="1" destOrd="0" presId="urn:microsoft.com/office/officeart/2005/8/layout/vProcess5"/>
    <dgm:cxn modelId="{792942F7-2A1D-4EF9-A423-4F52D1E0F541}" type="presParOf" srcId="{3705BD65-CB83-4963-ADFD-24A3C1DE4C21}" destId="{25A02B05-B0CD-41CA-A921-152375AAF900}" srcOrd="2" destOrd="0" presId="urn:microsoft.com/office/officeart/2005/8/layout/vProcess5"/>
    <dgm:cxn modelId="{A1EA249F-5026-41C2-BB07-9B67C9B0979C}" type="presParOf" srcId="{3705BD65-CB83-4963-ADFD-24A3C1DE4C21}" destId="{58F858D3-62CE-4F51-8B91-B8C5A476ADF7}" srcOrd="3" destOrd="0" presId="urn:microsoft.com/office/officeart/2005/8/layout/vProcess5"/>
    <dgm:cxn modelId="{5E13F564-FBC6-49F5-AB57-E56DAA089F99}" type="presParOf" srcId="{3705BD65-CB83-4963-ADFD-24A3C1DE4C21}" destId="{F80577EB-6FEE-48D4-8E7A-D52D9B80C560}" srcOrd="4" destOrd="0" presId="urn:microsoft.com/office/officeart/2005/8/layout/vProcess5"/>
    <dgm:cxn modelId="{49E351D4-AA55-4502-8970-68EC2BDD9976}" type="presParOf" srcId="{3705BD65-CB83-4963-ADFD-24A3C1DE4C21}" destId="{C1B7AF34-209D-42D2-81F6-835348D13CD3}" srcOrd="5" destOrd="0" presId="urn:microsoft.com/office/officeart/2005/8/layout/vProcess5"/>
    <dgm:cxn modelId="{FC58C0E0-DB7C-4EF7-BA60-175FC00F7167}" type="presParOf" srcId="{3705BD65-CB83-4963-ADFD-24A3C1DE4C21}" destId="{AF055301-1112-4241-A4FE-7C93897A5AB7}" srcOrd="6" destOrd="0" presId="urn:microsoft.com/office/officeart/2005/8/layout/vProcess5"/>
    <dgm:cxn modelId="{95102BE5-F5BA-4F60-ADF9-122ED4028961}" type="presParOf" srcId="{3705BD65-CB83-4963-ADFD-24A3C1DE4C21}" destId="{7F723226-71E3-46FB-93D1-F871F8BC2177}" srcOrd="7" destOrd="0" presId="urn:microsoft.com/office/officeart/2005/8/layout/vProcess5"/>
    <dgm:cxn modelId="{51A48CD1-4FCB-4958-AB65-B7480CA4C473}" type="presParOf" srcId="{3705BD65-CB83-4963-ADFD-24A3C1DE4C21}" destId="{CA7BDE0D-31C1-4E95-AA25-DA70320A4D69}" srcOrd="8" destOrd="0" presId="urn:microsoft.com/office/officeart/2005/8/layout/vProcess5"/>
    <dgm:cxn modelId="{189E4E7A-75EF-4E10-8E18-ABA1D4B5D0F4}" type="presParOf" srcId="{3705BD65-CB83-4963-ADFD-24A3C1DE4C21}" destId="{D20A181B-F0A4-4DBC-8E5F-BEEE5FA8E4B8}" srcOrd="9" destOrd="0" presId="urn:microsoft.com/office/officeart/2005/8/layout/vProcess5"/>
    <dgm:cxn modelId="{3805A2FC-CC59-44AC-89DA-D4FE304CCA56}" type="presParOf" srcId="{3705BD65-CB83-4963-ADFD-24A3C1DE4C21}" destId="{ED61738C-8C0C-4205-9A55-AAC6C26D4365}" srcOrd="10" destOrd="0" presId="urn:microsoft.com/office/officeart/2005/8/layout/vProcess5"/>
    <dgm:cxn modelId="{0AEC273E-B439-4C24-A27A-CB46933AD74D}" type="presParOf" srcId="{3705BD65-CB83-4963-ADFD-24A3C1DE4C21}" destId="{39AD6F30-77B2-430C-BE9E-EA7B1ADF421E}" srcOrd="11" destOrd="0" presId="urn:microsoft.com/office/officeart/2005/8/layout/vProcess5"/>
    <dgm:cxn modelId="{5BAC266E-F978-4EA2-A7F6-894475A4CBDB}" type="presParOf" srcId="{3705BD65-CB83-4963-ADFD-24A3C1DE4C21}" destId="{13FB1F42-2EF9-4670-9B92-3FB969E49AB4}" srcOrd="12" destOrd="0" presId="urn:microsoft.com/office/officeart/2005/8/layout/vProcess5"/>
    <dgm:cxn modelId="{3318D0C9-A7D8-434A-AB21-1FF54E2258CF}" type="presParOf" srcId="{3705BD65-CB83-4963-ADFD-24A3C1DE4C21}" destId="{7DEC9936-313C-4C11-B277-F64E327BCBDC}" srcOrd="13" destOrd="0" presId="urn:microsoft.com/office/officeart/2005/8/layout/vProcess5"/>
    <dgm:cxn modelId="{D71E1298-3B46-462E-9A75-0FC26F83ECC8}" type="presParOf" srcId="{3705BD65-CB83-4963-ADFD-24A3C1DE4C21}" destId="{2CF8CCBE-22E0-48A8-88DF-8534DDCCCF6D}" srcOrd="14" destOrd="0" presId="urn:microsoft.com/office/officeart/2005/8/layout/vProcess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B8E496E4-1221-4EF8-8C47-6E82C3DC84F9}" type="doc">
      <dgm:prSet loTypeId="urn:microsoft.com/office/officeart/2005/8/layout/vProcess5" loCatId="process" qsTypeId="urn:microsoft.com/office/officeart/2005/8/quickstyle/simple1" qsCatId="simple" csTypeId="urn:microsoft.com/office/officeart/2005/8/colors/accent2_2" csCatId="accent2" phldr="1"/>
      <dgm:spPr/>
      <dgm:t>
        <a:bodyPr/>
        <a:lstStyle/>
        <a:p>
          <a:endParaRPr lang="en-US"/>
        </a:p>
      </dgm:t>
    </dgm:pt>
    <dgm:pt modelId="{C03524A2-1C3D-4BEA-B753-DCE32890B87D}">
      <dgm:prSet phldrT="[Text]" custT="1"/>
      <dgm:spPr/>
      <dgm:t>
        <a:bodyPr/>
        <a:lstStyle/>
        <a:p>
          <a:r>
            <a:rPr lang="en-US" sz="2000"/>
            <a:t>Determine error type</a:t>
          </a:r>
        </a:p>
      </dgm:t>
    </dgm:pt>
    <dgm:pt modelId="{0276DB72-5B47-454D-B30A-786DE23DA11A}" type="parTrans" cxnId="{614AA38B-86F6-4565-84BC-4CB9FE2EF237}">
      <dgm:prSet/>
      <dgm:spPr/>
      <dgm:t>
        <a:bodyPr/>
        <a:lstStyle/>
        <a:p>
          <a:endParaRPr lang="en-US"/>
        </a:p>
      </dgm:t>
    </dgm:pt>
    <dgm:pt modelId="{D597A63D-6A02-4464-8CE6-4B4C34E196ED}" type="sibTrans" cxnId="{614AA38B-86F6-4565-84BC-4CB9FE2EF237}">
      <dgm:prSet/>
      <dgm:spPr/>
      <dgm:t>
        <a:bodyPr/>
        <a:lstStyle/>
        <a:p>
          <a:endParaRPr lang="en-US"/>
        </a:p>
      </dgm:t>
    </dgm:pt>
    <dgm:pt modelId="{640098D8-3755-499B-9366-E0690DEC40C2}">
      <dgm:prSet phldrT="[Text]"/>
      <dgm:spPr/>
      <dgm:t>
        <a:bodyPr/>
        <a:lstStyle/>
        <a:p>
          <a:r>
            <a:rPr lang="en-US"/>
            <a:t>Encapsulate code into </a:t>
          </a:r>
          <a:r>
            <a:rPr lang="en-US" b="1"/>
            <a:t>Try{ } </a:t>
          </a:r>
          <a:r>
            <a:rPr lang="en-US"/>
            <a:t>block</a:t>
          </a:r>
        </a:p>
      </dgm:t>
    </dgm:pt>
    <dgm:pt modelId="{79F5ABD9-1DB7-46B6-9FD1-D8BF1DF1ED03}" type="parTrans" cxnId="{E19D91B2-7AB8-487E-9C17-965D697AE8F3}">
      <dgm:prSet/>
      <dgm:spPr/>
      <dgm:t>
        <a:bodyPr/>
        <a:lstStyle/>
        <a:p>
          <a:endParaRPr lang="en-US"/>
        </a:p>
      </dgm:t>
    </dgm:pt>
    <dgm:pt modelId="{133238E9-2152-4EC4-8B3A-4011A7A83FD7}" type="sibTrans" cxnId="{E19D91B2-7AB8-487E-9C17-965D697AE8F3}">
      <dgm:prSet/>
      <dgm:spPr/>
      <dgm:t>
        <a:bodyPr/>
        <a:lstStyle/>
        <a:p>
          <a:endParaRPr lang="en-US"/>
        </a:p>
      </dgm:t>
    </dgm:pt>
    <dgm:pt modelId="{C40C5CFD-BD99-4990-93C7-637D25E05832}">
      <dgm:prSet phldrT="[Text]"/>
      <dgm:spPr/>
      <dgm:t>
        <a:bodyPr/>
        <a:lstStyle/>
        <a:p>
          <a:r>
            <a:rPr lang="en-US"/>
            <a:t>Create </a:t>
          </a:r>
          <a:r>
            <a:rPr lang="en-US" b="1"/>
            <a:t>catch</a:t>
          </a:r>
          <a:r>
            <a:rPr lang="en-US"/>
            <a:t> block(s) for the error type</a:t>
          </a:r>
        </a:p>
      </dgm:t>
    </dgm:pt>
    <dgm:pt modelId="{6BE510D2-FF4D-4BA9-9199-A9325319567C}" type="parTrans" cxnId="{D2AD62E0-5195-4F53-B910-13CBD14F480A}">
      <dgm:prSet/>
      <dgm:spPr/>
      <dgm:t>
        <a:bodyPr/>
        <a:lstStyle/>
        <a:p>
          <a:endParaRPr lang="en-US"/>
        </a:p>
      </dgm:t>
    </dgm:pt>
    <dgm:pt modelId="{01AADA5D-3FD5-48C6-8AF1-05F56F34B22C}" type="sibTrans" cxnId="{D2AD62E0-5195-4F53-B910-13CBD14F480A}">
      <dgm:prSet/>
      <dgm:spPr/>
      <dgm:t>
        <a:bodyPr/>
        <a:lstStyle/>
        <a:p>
          <a:endParaRPr lang="en-US"/>
        </a:p>
      </dgm:t>
    </dgm:pt>
    <dgm:pt modelId="{AF7F62E9-D50C-4E9F-8D02-57A3F9E41E86}">
      <dgm:prSet phldrT="[Text]"/>
      <dgm:spPr/>
      <dgm:t>
        <a:bodyPr/>
        <a:lstStyle/>
        <a:p>
          <a:r>
            <a:rPr lang="en-US"/>
            <a:t>Create optional </a:t>
          </a:r>
          <a:r>
            <a:rPr lang="en-US" b="1"/>
            <a:t>finally{ } </a:t>
          </a:r>
          <a:r>
            <a:rPr lang="en-US" b="0"/>
            <a:t>block for cleanup code</a:t>
          </a:r>
          <a:endParaRPr lang="en-US"/>
        </a:p>
      </dgm:t>
    </dgm:pt>
    <dgm:pt modelId="{B308B842-EDE3-40E2-B84F-A82EBEFD9DD3}" type="parTrans" cxnId="{E7D0FCE7-BC71-4E49-BED3-16E57BF39B72}">
      <dgm:prSet/>
      <dgm:spPr/>
      <dgm:t>
        <a:bodyPr/>
        <a:lstStyle/>
        <a:p>
          <a:endParaRPr lang="en-US"/>
        </a:p>
      </dgm:t>
    </dgm:pt>
    <dgm:pt modelId="{929AA622-F390-457C-8FD0-7E64912C22CA}" type="sibTrans" cxnId="{E7D0FCE7-BC71-4E49-BED3-16E57BF39B72}">
      <dgm:prSet/>
      <dgm:spPr/>
      <dgm:t>
        <a:bodyPr/>
        <a:lstStyle/>
        <a:p>
          <a:endParaRPr lang="en-US"/>
        </a:p>
      </dgm:t>
    </dgm:pt>
    <dgm:pt modelId="{2ACFF3E8-2D3D-4C6D-89A4-B120F6F9A03B}">
      <dgm:prSet phldrT="[Text]"/>
      <dgm:spPr/>
      <dgm:t>
        <a:bodyPr/>
        <a:lstStyle/>
        <a:p>
          <a:r>
            <a:rPr lang="en-US"/>
            <a:t>Execute code</a:t>
          </a:r>
        </a:p>
      </dgm:t>
    </dgm:pt>
    <dgm:pt modelId="{36B173F2-3AC4-482A-8663-26DA595FB2C3}" type="parTrans" cxnId="{4A1A25B0-0220-455C-A02D-318D7C91D166}">
      <dgm:prSet/>
      <dgm:spPr/>
      <dgm:t>
        <a:bodyPr/>
        <a:lstStyle/>
        <a:p>
          <a:endParaRPr lang="en-US"/>
        </a:p>
      </dgm:t>
    </dgm:pt>
    <dgm:pt modelId="{41E17E66-C155-4BC1-A02A-E5B808B98A38}" type="sibTrans" cxnId="{4A1A25B0-0220-455C-A02D-318D7C91D166}">
      <dgm:prSet/>
      <dgm:spPr/>
      <dgm:t>
        <a:bodyPr/>
        <a:lstStyle/>
        <a:p>
          <a:endParaRPr lang="en-US"/>
        </a:p>
      </dgm:t>
    </dgm:pt>
    <dgm:pt modelId="{3705BD65-CB83-4963-ADFD-24A3C1DE4C21}" type="pres">
      <dgm:prSet presAssocID="{B8E496E4-1221-4EF8-8C47-6E82C3DC84F9}" presName="outerComposite" presStyleCnt="0">
        <dgm:presLayoutVars>
          <dgm:chMax val="5"/>
          <dgm:dir/>
          <dgm:resizeHandles val="exact"/>
        </dgm:presLayoutVars>
      </dgm:prSet>
      <dgm:spPr/>
    </dgm:pt>
    <dgm:pt modelId="{CBB9E650-BDFE-42AA-98C7-53F1EF0301F4}" type="pres">
      <dgm:prSet presAssocID="{B8E496E4-1221-4EF8-8C47-6E82C3DC84F9}" presName="dummyMaxCanvas" presStyleCnt="0">
        <dgm:presLayoutVars/>
      </dgm:prSet>
      <dgm:spPr/>
    </dgm:pt>
    <dgm:pt modelId="{574105C7-342D-4EA6-B435-4F382EAD613F}" type="pres">
      <dgm:prSet presAssocID="{B8E496E4-1221-4EF8-8C47-6E82C3DC84F9}" presName="FiveNodes_1" presStyleLbl="node1" presStyleIdx="0" presStyleCnt="5">
        <dgm:presLayoutVars>
          <dgm:bulletEnabled val="1"/>
        </dgm:presLayoutVars>
      </dgm:prSet>
      <dgm:spPr/>
    </dgm:pt>
    <dgm:pt modelId="{C4728F51-3174-4139-BB04-2EB85E9BF43D}" type="pres">
      <dgm:prSet presAssocID="{B8E496E4-1221-4EF8-8C47-6E82C3DC84F9}" presName="FiveNodes_2" presStyleLbl="node1" presStyleIdx="1" presStyleCnt="5">
        <dgm:presLayoutVars>
          <dgm:bulletEnabled val="1"/>
        </dgm:presLayoutVars>
      </dgm:prSet>
      <dgm:spPr/>
    </dgm:pt>
    <dgm:pt modelId="{A0D603F0-E083-472B-9D85-C5E7385AA72E}" type="pres">
      <dgm:prSet presAssocID="{B8E496E4-1221-4EF8-8C47-6E82C3DC84F9}" presName="FiveNodes_3" presStyleLbl="node1" presStyleIdx="2" presStyleCnt="5">
        <dgm:presLayoutVars>
          <dgm:bulletEnabled val="1"/>
        </dgm:presLayoutVars>
      </dgm:prSet>
      <dgm:spPr/>
    </dgm:pt>
    <dgm:pt modelId="{3E7316AE-F388-400F-9CFF-BD6CE45E0981}" type="pres">
      <dgm:prSet presAssocID="{B8E496E4-1221-4EF8-8C47-6E82C3DC84F9}" presName="FiveNodes_4" presStyleLbl="node1" presStyleIdx="3" presStyleCnt="5">
        <dgm:presLayoutVars>
          <dgm:bulletEnabled val="1"/>
        </dgm:presLayoutVars>
      </dgm:prSet>
      <dgm:spPr/>
    </dgm:pt>
    <dgm:pt modelId="{C1FB2C0A-2FA4-4B56-9740-4CAF60B84FA0}" type="pres">
      <dgm:prSet presAssocID="{B8E496E4-1221-4EF8-8C47-6E82C3DC84F9}" presName="FiveNodes_5" presStyleLbl="node1" presStyleIdx="4" presStyleCnt="5">
        <dgm:presLayoutVars>
          <dgm:bulletEnabled val="1"/>
        </dgm:presLayoutVars>
      </dgm:prSet>
      <dgm:spPr/>
    </dgm:pt>
    <dgm:pt modelId="{A8550069-49A2-42AD-ABFF-788C280CCC7F}" type="pres">
      <dgm:prSet presAssocID="{B8E496E4-1221-4EF8-8C47-6E82C3DC84F9}" presName="FiveConn_1-2" presStyleLbl="fgAccFollowNode1" presStyleIdx="0" presStyleCnt="4">
        <dgm:presLayoutVars>
          <dgm:bulletEnabled val="1"/>
        </dgm:presLayoutVars>
      </dgm:prSet>
      <dgm:spPr/>
    </dgm:pt>
    <dgm:pt modelId="{774356FB-C7A7-416D-BE0F-F5A21E39FBB6}" type="pres">
      <dgm:prSet presAssocID="{B8E496E4-1221-4EF8-8C47-6E82C3DC84F9}" presName="FiveConn_2-3" presStyleLbl="fgAccFollowNode1" presStyleIdx="1" presStyleCnt="4">
        <dgm:presLayoutVars>
          <dgm:bulletEnabled val="1"/>
        </dgm:presLayoutVars>
      </dgm:prSet>
      <dgm:spPr/>
    </dgm:pt>
    <dgm:pt modelId="{B1B1B461-5A38-4B5D-99D3-B4D43240FD23}" type="pres">
      <dgm:prSet presAssocID="{B8E496E4-1221-4EF8-8C47-6E82C3DC84F9}" presName="FiveConn_3-4" presStyleLbl="fgAccFollowNode1" presStyleIdx="2" presStyleCnt="4">
        <dgm:presLayoutVars>
          <dgm:bulletEnabled val="1"/>
        </dgm:presLayoutVars>
      </dgm:prSet>
      <dgm:spPr/>
    </dgm:pt>
    <dgm:pt modelId="{E0083E16-A488-4A4D-B6E3-E7AA15F22A6C}" type="pres">
      <dgm:prSet presAssocID="{B8E496E4-1221-4EF8-8C47-6E82C3DC84F9}" presName="FiveConn_4-5" presStyleLbl="fgAccFollowNode1" presStyleIdx="3" presStyleCnt="4">
        <dgm:presLayoutVars>
          <dgm:bulletEnabled val="1"/>
        </dgm:presLayoutVars>
      </dgm:prSet>
      <dgm:spPr/>
    </dgm:pt>
    <dgm:pt modelId="{D48680CC-F39C-488F-ACD6-64E6B3E78281}" type="pres">
      <dgm:prSet presAssocID="{B8E496E4-1221-4EF8-8C47-6E82C3DC84F9}" presName="FiveNodes_1_text" presStyleLbl="node1" presStyleIdx="4" presStyleCnt="5">
        <dgm:presLayoutVars>
          <dgm:bulletEnabled val="1"/>
        </dgm:presLayoutVars>
      </dgm:prSet>
      <dgm:spPr/>
    </dgm:pt>
    <dgm:pt modelId="{B268F4D0-1825-4F31-A9D8-27087CCFD3E4}" type="pres">
      <dgm:prSet presAssocID="{B8E496E4-1221-4EF8-8C47-6E82C3DC84F9}" presName="FiveNodes_2_text" presStyleLbl="node1" presStyleIdx="4" presStyleCnt="5">
        <dgm:presLayoutVars>
          <dgm:bulletEnabled val="1"/>
        </dgm:presLayoutVars>
      </dgm:prSet>
      <dgm:spPr/>
    </dgm:pt>
    <dgm:pt modelId="{FD1885BF-525F-4C29-81FC-E6B0D3C93185}" type="pres">
      <dgm:prSet presAssocID="{B8E496E4-1221-4EF8-8C47-6E82C3DC84F9}" presName="FiveNodes_3_text" presStyleLbl="node1" presStyleIdx="4" presStyleCnt="5">
        <dgm:presLayoutVars>
          <dgm:bulletEnabled val="1"/>
        </dgm:presLayoutVars>
      </dgm:prSet>
      <dgm:spPr/>
    </dgm:pt>
    <dgm:pt modelId="{68877F4A-3BCE-4F98-A5EA-6E0CC2639E97}" type="pres">
      <dgm:prSet presAssocID="{B8E496E4-1221-4EF8-8C47-6E82C3DC84F9}" presName="FiveNodes_4_text" presStyleLbl="node1" presStyleIdx="4" presStyleCnt="5">
        <dgm:presLayoutVars>
          <dgm:bulletEnabled val="1"/>
        </dgm:presLayoutVars>
      </dgm:prSet>
      <dgm:spPr/>
    </dgm:pt>
    <dgm:pt modelId="{5273CAA1-F8E2-465B-A914-879A254ED4D1}" type="pres">
      <dgm:prSet presAssocID="{B8E496E4-1221-4EF8-8C47-6E82C3DC84F9}" presName="FiveNodes_5_text" presStyleLbl="node1" presStyleIdx="4" presStyleCnt="5">
        <dgm:presLayoutVars>
          <dgm:bulletEnabled val="1"/>
        </dgm:presLayoutVars>
      </dgm:prSet>
      <dgm:spPr/>
    </dgm:pt>
  </dgm:ptLst>
  <dgm:cxnLst>
    <dgm:cxn modelId="{92BD1703-2C54-4275-849D-E6278C080CDC}" type="presOf" srcId="{01AADA5D-3FD5-48C6-8AF1-05F56F34B22C}" destId="{B1B1B461-5A38-4B5D-99D3-B4D43240FD23}" srcOrd="0" destOrd="0" presId="urn:microsoft.com/office/officeart/2005/8/layout/vProcess5"/>
    <dgm:cxn modelId="{5AFEBA0C-E927-414D-8B9B-62B556DAE18F}" type="presOf" srcId="{D597A63D-6A02-4464-8CE6-4B4C34E196ED}" destId="{A8550069-49A2-42AD-ABFF-788C280CCC7F}" srcOrd="0" destOrd="0" presId="urn:microsoft.com/office/officeart/2005/8/layout/vProcess5"/>
    <dgm:cxn modelId="{20B63319-68D5-429C-9595-62CC7D07D317}" type="presOf" srcId="{640098D8-3755-499B-9366-E0690DEC40C2}" destId="{B268F4D0-1825-4F31-A9D8-27087CCFD3E4}" srcOrd="1" destOrd="0" presId="urn:microsoft.com/office/officeart/2005/8/layout/vProcess5"/>
    <dgm:cxn modelId="{C4357D19-88BA-41A0-8467-0180ADB0CD0D}" type="presOf" srcId="{C40C5CFD-BD99-4990-93C7-637D25E05832}" destId="{FD1885BF-525F-4C29-81FC-E6B0D3C93185}" srcOrd="1" destOrd="0" presId="urn:microsoft.com/office/officeart/2005/8/layout/vProcess5"/>
    <dgm:cxn modelId="{DD767429-AAF7-4BAF-8EEB-F8D2F7C0BC32}" type="presOf" srcId="{2ACFF3E8-2D3D-4C6D-89A4-B120F6F9A03B}" destId="{68877F4A-3BCE-4F98-A5EA-6E0CC2639E97}" srcOrd="1" destOrd="0" presId="urn:microsoft.com/office/officeart/2005/8/layout/vProcess5"/>
    <dgm:cxn modelId="{E41EE736-838C-4520-8AD0-5691739E26D1}" type="presOf" srcId="{C03524A2-1C3D-4BEA-B753-DCE32890B87D}" destId="{574105C7-342D-4EA6-B435-4F382EAD613F}" srcOrd="0" destOrd="0" presId="urn:microsoft.com/office/officeart/2005/8/layout/vProcess5"/>
    <dgm:cxn modelId="{B8C3835F-FB64-437C-AEFB-2633FDFF5663}" type="presOf" srcId="{41E17E66-C155-4BC1-A02A-E5B808B98A38}" destId="{E0083E16-A488-4A4D-B6E3-E7AA15F22A6C}" srcOrd="0" destOrd="0" presId="urn:microsoft.com/office/officeart/2005/8/layout/vProcess5"/>
    <dgm:cxn modelId="{E3901166-EC8A-49A2-A65F-1CFCF48C79A3}" type="presOf" srcId="{640098D8-3755-499B-9366-E0690DEC40C2}" destId="{C4728F51-3174-4139-BB04-2EB85E9BF43D}" srcOrd="0" destOrd="0" presId="urn:microsoft.com/office/officeart/2005/8/layout/vProcess5"/>
    <dgm:cxn modelId="{9BD36A4B-F6C7-46A3-9CF0-6A318D0CEF22}" type="presOf" srcId="{C03524A2-1C3D-4BEA-B753-DCE32890B87D}" destId="{D48680CC-F39C-488F-ACD6-64E6B3E78281}" srcOrd="1" destOrd="0" presId="urn:microsoft.com/office/officeart/2005/8/layout/vProcess5"/>
    <dgm:cxn modelId="{20B1C377-E9EA-47AC-A2DF-E9E265AEC2DD}" type="presOf" srcId="{133238E9-2152-4EC4-8B3A-4011A7A83FD7}" destId="{774356FB-C7A7-416D-BE0F-F5A21E39FBB6}" srcOrd="0" destOrd="0" presId="urn:microsoft.com/office/officeart/2005/8/layout/vProcess5"/>
    <dgm:cxn modelId="{DCB0AB5A-A602-4DE1-A4FD-8CF3F6ADB4C3}" type="presOf" srcId="{AF7F62E9-D50C-4E9F-8D02-57A3F9E41E86}" destId="{5273CAA1-F8E2-465B-A914-879A254ED4D1}" srcOrd="1" destOrd="0" presId="urn:microsoft.com/office/officeart/2005/8/layout/vProcess5"/>
    <dgm:cxn modelId="{614AA38B-86F6-4565-84BC-4CB9FE2EF237}" srcId="{B8E496E4-1221-4EF8-8C47-6E82C3DC84F9}" destId="{C03524A2-1C3D-4BEA-B753-DCE32890B87D}" srcOrd="0" destOrd="0" parTransId="{0276DB72-5B47-454D-B30A-786DE23DA11A}" sibTransId="{D597A63D-6A02-4464-8CE6-4B4C34E196ED}"/>
    <dgm:cxn modelId="{EA19029E-AAA4-4758-8532-05629C21F698}" type="presOf" srcId="{C40C5CFD-BD99-4990-93C7-637D25E05832}" destId="{A0D603F0-E083-472B-9D85-C5E7385AA72E}" srcOrd="0" destOrd="0" presId="urn:microsoft.com/office/officeart/2005/8/layout/vProcess5"/>
    <dgm:cxn modelId="{4A1A25B0-0220-455C-A02D-318D7C91D166}" srcId="{B8E496E4-1221-4EF8-8C47-6E82C3DC84F9}" destId="{2ACFF3E8-2D3D-4C6D-89A4-B120F6F9A03B}" srcOrd="3" destOrd="0" parTransId="{36B173F2-3AC4-482A-8663-26DA595FB2C3}" sibTransId="{41E17E66-C155-4BC1-A02A-E5B808B98A38}"/>
    <dgm:cxn modelId="{E19D91B2-7AB8-487E-9C17-965D697AE8F3}" srcId="{B8E496E4-1221-4EF8-8C47-6E82C3DC84F9}" destId="{640098D8-3755-499B-9366-E0690DEC40C2}" srcOrd="1" destOrd="0" parTransId="{79F5ABD9-1DB7-46B6-9FD1-D8BF1DF1ED03}" sibTransId="{133238E9-2152-4EC4-8B3A-4011A7A83FD7}"/>
    <dgm:cxn modelId="{14AD08D2-0150-42A3-824B-423DD5894537}" type="presOf" srcId="{AF7F62E9-D50C-4E9F-8D02-57A3F9E41E86}" destId="{C1FB2C0A-2FA4-4B56-9740-4CAF60B84FA0}" srcOrd="0" destOrd="0" presId="urn:microsoft.com/office/officeart/2005/8/layout/vProcess5"/>
    <dgm:cxn modelId="{C8D9F2D4-4527-4377-B0CE-0C55D54CEE7F}" type="presOf" srcId="{B8E496E4-1221-4EF8-8C47-6E82C3DC84F9}" destId="{3705BD65-CB83-4963-ADFD-24A3C1DE4C21}" srcOrd="0" destOrd="0" presId="urn:microsoft.com/office/officeart/2005/8/layout/vProcess5"/>
    <dgm:cxn modelId="{D66AC3D6-7A45-4290-ADD1-9996DE475D58}" type="presOf" srcId="{2ACFF3E8-2D3D-4C6D-89A4-B120F6F9A03B}" destId="{3E7316AE-F388-400F-9CFF-BD6CE45E0981}" srcOrd="0" destOrd="0" presId="urn:microsoft.com/office/officeart/2005/8/layout/vProcess5"/>
    <dgm:cxn modelId="{D2AD62E0-5195-4F53-B910-13CBD14F480A}" srcId="{B8E496E4-1221-4EF8-8C47-6E82C3DC84F9}" destId="{C40C5CFD-BD99-4990-93C7-637D25E05832}" srcOrd="2" destOrd="0" parTransId="{6BE510D2-FF4D-4BA9-9199-A9325319567C}" sibTransId="{01AADA5D-3FD5-48C6-8AF1-05F56F34B22C}"/>
    <dgm:cxn modelId="{E7D0FCE7-BC71-4E49-BED3-16E57BF39B72}" srcId="{B8E496E4-1221-4EF8-8C47-6E82C3DC84F9}" destId="{AF7F62E9-D50C-4E9F-8D02-57A3F9E41E86}" srcOrd="4" destOrd="0" parTransId="{B308B842-EDE3-40E2-B84F-A82EBEFD9DD3}" sibTransId="{929AA622-F390-457C-8FD0-7E64912C22CA}"/>
    <dgm:cxn modelId="{535B2AE5-5729-4641-9E3A-C33A1296F0F5}" type="presParOf" srcId="{3705BD65-CB83-4963-ADFD-24A3C1DE4C21}" destId="{CBB9E650-BDFE-42AA-98C7-53F1EF0301F4}" srcOrd="0" destOrd="0" presId="urn:microsoft.com/office/officeart/2005/8/layout/vProcess5"/>
    <dgm:cxn modelId="{FCC6F79D-57DC-45DD-B8B2-308524653E71}" type="presParOf" srcId="{3705BD65-CB83-4963-ADFD-24A3C1DE4C21}" destId="{574105C7-342D-4EA6-B435-4F382EAD613F}" srcOrd="1" destOrd="0" presId="urn:microsoft.com/office/officeart/2005/8/layout/vProcess5"/>
    <dgm:cxn modelId="{EC655EDA-CEE0-49FD-B1C8-1E8FCDBA1944}" type="presParOf" srcId="{3705BD65-CB83-4963-ADFD-24A3C1DE4C21}" destId="{C4728F51-3174-4139-BB04-2EB85E9BF43D}" srcOrd="2" destOrd="0" presId="urn:microsoft.com/office/officeart/2005/8/layout/vProcess5"/>
    <dgm:cxn modelId="{D47D7162-2C20-4ECB-BC11-EBC10A5EFB66}" type="presParOf" srcId="{3705BD65-CB83-4963-ADFD-24A3C1DE4C21}" destId="{A0D603F0-E083-472B-9D85-C5E7385AA72E}" srcOrd="3" destOrd="0" presId="urn:microsoft.com/office/officeart/2005/8/layout/vProcess5"/>
    <dgm:cxn modelId="{5DF87A2E-CA3A-40E2-A960-C0FD271F9DD4}" type="presParOf" srcId="{3705BD65-CB83-4963-ADFD-24A3C1DE4C21}" destId="{3E7316AE-F388-400F-9CFF-BD6CE45E0981}" srcOrd="4" destOrd="0" presId="urn:microsoft.com/office/officeart/2005/8/layout/vProcess5"/>
    <dgm:cxn modelId="{8EB19B02-F5D0-4338-903E-6CACB917B8EE}" type="presParOf" srcId="{3705BD65-CB83-4963-ADFD-24A3C1DE4C21}" destId="{C1FB2C0A-2FA4-4B56-9740-4CAF60B84FA0}" srcOrd="5" destOrd="0" presId="urn:microsoft.com/office/officeart/2005/8/layout/vProcess5"/>
    <dgm:cxn modelId="{043E9CEE-F5B1-4CDD-8B89-0F9B8695D28D}" type="presParOf" srcId="{3705BD65-CB83-4963-ADFD-24A3C1DE4C21}" destId="{A8550069-49A2-42AD-ABFF-788C280CCC7F}" srcOrd="6" destOrd="0" presId="urn:microsoft.com/office/officeart/2005/8/layout/vProcess5"/>
    <dgm:cxn modelId="{0C15CE58-38EC-4506-8E0F-75A6B025BE2F}" type="presParOf" srcId="{3705BD65-CB83-4963-ADFD-24A3C1DE4C21}" destId="{774356FB-C7A7-416D-BE0F-F5A21E39FBB6}" srcOrd="7" destOrd="0" presId="urn:microsoft.com/office/officeart/2005/8/layout/vProcess5"/>
    <dgm:cxn modelId="{0A290DB8-1910-4E26-8339-94A87EE3DCA4}" type="presParOf" srcId="{3705BD65-CB83-4963-ADFD-24A3C1DE4C21}" destId="{B1B1B461-5A38-4B5D-99D3-B4D43240FD23}" srcOrd="8" destOrd="0" presId="urn:microsoft.com/office/officeart/2005/8/layout/vProcess5"/>
    <dgm:cxn modelId="{C452249B-CDB8-400F-BC74-206EE5A4AE9E}" type="presParOf" srcId="{3705BD65-CB83-4963-ADFD-24A3C1DE4C21}" destId="{E0083E16-A488-4A4D-B6E3-E7AA15F22A6C}" srcOrd="9" destOrd="0" presId="urn:microsoft.com/office/officeart/2005/8/layout/vProcess5"/>
    <dgm:cxn modelId="{8CB72AAD-F25F-45DF-A18D-D30271CF6E9C}" type="presParOf" srcId="{3705BD65-CB83-4963-ADFD-24A3C1DE4C21}" destId="{D48680CC-F39C-488F-ACD6-64E6B3E78281}" srcOrd="10" destOrd="0" presId="urn:microsoft.com/office/officeart/2005/8/layout/vProcess5"/>
    <dgm:cxn modelId="{A9FD26F8-F73B-48ED-B0B4-18273974AC63}" type="presParOf" srcId="{3705BD65-CB83-4963-ADFD-24A3C1DE4C21}" destId="{B268F4D0-1825-4F31-A9D8-27087CCFD3E4}" srcOrd="11" destOrd="0" presId="urn:microsoft.com/office/officeart/2005/8/layout/vProcess5"/>
    <dgm:cxn modelId="{4EC59F9A-66AD-4CC0-8403-3304DD40A553}" type="presParOf" srcId="{3705BD65-CB83-4963-ADFD-24A3C1DE4C21}" destId="{FD1885BF-525F-4C29-81FC-E6B0D3C93185}" srcOrd="12" destOrd="0" presId="urn:microsoft.com/office/officeart/2005/8/layout/vProcess5"/>
    <dgm:cxn modelId="{A4AE28DD-23BA-46E5-8884-A83EB6577456}" type="presParOf" srcId="{3705BD65-CB83-4963-ADFD-24A3C1DE4C21}" destId="{68877F4A-3BCE-4F98-A5EA-6E0CC2639E97}" srcOrd="13" destOrd="0" presId="urn:microsoft.com/office/officeart/2005/8/layout/vProcess5"/>
    <dgm:cxn modelId="{CA25EE5F-0C74-4607-A978-1EDF12077FD8}" type="presParOf" srcId="{3705BD65-CB83-4963-ADFD-24A3C1DE4C21}" destId="{5273CAA1-F8E2-465B-A914-879A254ED4D1}" srcOrd="14" destOrd="0" presId="urn:microsoft.com/office/officeart/2005/8/layout/vProcess5"/>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7EF106D-DE7D-4602-BB55-0C0F6DF3291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27FBF25-9278-4EAE-A0ED-2D9901AFF43A}">
      <dgm:prSet/>
      <dgm:spPr/>
      <dgm:t>
        <a:bodyPr/>
        <a:lstStyle/>
        <a:p>
          <a:r>
            <a:rPr lang="en-US"/>
            <a:t>Optionally </a:t>
          </a:r>
          <a:r>
            <a:rPr lang="en-US" b="1"/>
            <a:t>hide</a:t>
          </a:r>
          <a:r>
            <a:rPr lang="en-US"/>
            <a:t> the error message</a:t>
          </a:r>
        </a:p>
      </dgm:t>
    </dgm:pt>
    <dgm:pt modelId="{B741B110-F043-470C-9FC9-94998A07DA49}" type="parTrans" cxnId="{FDE7F945-F003-4B1F-8663-AFF863D93AFD}">
      <dgm:prSet/>
      <dgm:spPr/>
      <dgm:t>
        <a:bodyPr/>
        <a:lstStyle/>
        <a:p>
          <a:endParaRPr lang="en-US"/>
        </a:p>
      </dgm:t>
    </dgm:pt>
    <dgm:pt modelId="{DBB65007-4F0C-4CCD-B636-7ABA514CD948}" type="sibTrans" cxnId="{FDE7F945-F003-4B1F-8663-AFF863D93AFD}">
      <dgm:prSet/>
      <dgm:spPr/>
      <dgm:t>
        <a:bodyPr/>
        <a:lstStyle/>
        <a:p>
          <a:endParaRPr lang="en-US"/>
        </a:p>
      </dgm:t>
    </dgm:pt>
    <dgm:pt modelId="{BB11D13A-5E20-4AC2-A866-1F95EFB7A160}">
      <dgm:prSet/>
      <dgm:spPr/>
      <dgm:t>
        <a:bodyPr/>
        <a:lstStyle/>
        <a:p>
          <a:r>
            <a:rPr lang="en-US"/>
            <a:t>Write logic to </a:t>
          </a:r>
          <a:r>
            <a:rPr lang="en-US" b="1"/>
            <a:t>handle</a:t>
          </a:r>
          <a:r>
            <a:rPr lang="en-US"/>
            <a:t> errors appropriately</a:t>
          </a:r>
        </a:p>
      </dgm:t>
    </dgm:pt>
    <dgm:pt modelId="{89166CC2-9102-45F4-A800-54EFE5D3A7CC}" type="parTrans" cxnId="{CB9128F0-9475-46A1-9682-989138882E42}">
      <dgm:prSet/>
      <dgm:spPr/>
      <dgm:t>
        <a:bodyPr/>
        <a:lstStyle/>
        <a:p>
          <a:endParaRPr lang="en-US"/>
        </a:p>
      </dgm:t>
    </dgm:pt>
    <dgm:pt modelId="{54018D55-2F3D-4EBD-B296-8D298C742706}" type="sibTrans" cxnId="{CB9128F0-9475-46A1-9682-989138882E42}">
      <dgm:prSet/>
      <dgm:spPr/>
      <dgm:t>
        <a:bodyPr/>
        <a:lstStyle/>
        <a:p>
          <a:endParaRPr lang="en-US"/>
        </a:p>
      </dgm:t>
    </dgm:pt>
    <dgm:pt modelId="{045016F9-2B4E-4794-97E1-0BFA777D7538}">
      <dgm:prSet/>
      <dgm:spPr/>
      <dgm:t>
        <a:bodyPr/>
        <a:lstStyle/>
        <a:p>
          <a:endParaRPr lang="en-US"/>
        </a:p>
      </dgm:t>
    </dgm:pt>
    <dgm:pt modelId="{0F04FD65-1A23-4076-997E-B3FD1A531C87}" type="parTrans" cxnId="{E8F12966-290B-4365-8A14-F0ED78ABA2FC}">
      <dgm:prSet/>
      <dgm:spPr/>
      <dgm:t>
        <a:bodyPr/>
        <a:lstStyle/>
        <a:p>
          <a:endParaRPr lang="en-US"/>
        </a:p>
      </dgm:t>
    </dgm:pt>
    <dgm:pt modelId="{455A9640-6075-46E8-9949-D91E05426126}" type="sibTrans" cxnId="{E8F12966-290B-4365-8A14-F0ED78ABA2FC}">
      <dgm:prSet/>
      <dgm:spPr/>
      <dgm:t>
        <a:bodyPr/>
        <a:lstStyle/>
        <a:p>
          <a:endParaRPr lang="en-US"/>
        </a:p>
      </dgm:t>
    </dgm:pt>
    <dgm:pt modelId="{0872353F-7D84-455D-8DEB-088C9CEF179D}" type="pres">
      <dgm:prSet presAssocID="{67EF106D-DE7D-4602-BB55-0C0F6DF32915}" presName="vert0" presStyleCnt="0">
        <dgm:presLayoutVars>
          <dgm:dir/>
          <dgm:animOne val="branch"/>
          <dgm:animLvl val="lvl"/>
        </dgm:presLayoutVars>
      </dgm:prSet>
      <dgm:spPr/>
    </dgm:pt>
    <dgm:pt modelId="{43D3430C-0389-409A-90DF-99BDE5C231EB}" type="pres">
      <dgm:prSet presAssocID="{127FBF25-9278-4EAE-A0ED-2D9901AFF43A}" presName="thickLine" presStyleLbl="alignNode1" presStyleIdx="0" presStyleCnt="3"/>
      <dgm:spPr/>
    </dgm:pt>
    <dgm:pt modelId="{79D2F896-650F-4851-8A9B-0FFD63E7BE65}" type="pres">
      <dgm:prSet presAssocID="{127FBF25-9278-4EAE-A0ED-2D9901AFF43A}" presName="horz1" presStyleCnt="0"/>
      <dgm:spPr/>
    </dgm:pt>
    <dgm:pt modelId="{0D4524DA-B977-4391-A2FD-94F14EC99222}" type="pres">
      <dgm:prSet presAssocID="{127FBF25-9278-4EAE-A0ED-2D9901AFF43A}" presName="tx1" presStyleLbl="revTx" presStyleIdx="0" presStyleCnt="3"/>
      <dgm:spPr/>
    </dgm:pt>
    <dgm:pt modelId="{2CCD27E9-5BA0-4FA7-A622-1279EDA1A37D}" type="pres">
      <dgm:prSet presAssocID="{127FBF25-9278-4EAE-A0ED-2D9901AFF43A}" presName="vert1" presStyleCnt="0"/>
      <dgm:spPr/>
    </dgm:pt>
    <dgm:pt modelId="{BE3F3705-0C77-4E54-9A93-27CB2737372B}" type="pres">
      <dgm:prSet presAssocID="{BB11D13A-5E20-4AC2-A866-1F95EFB7A160}" presName="thickLine" presStyleLbl="alignNode1" presStyleIdx="1" presStyleCnt="3"/>
      <dgm:spPr/>
    </dgm:pt>
    <dgm:pt modelId="{242CB495-EA2B-4A41-9A68-69DE0397778A}" type="pres">
      <dgm:prSet presAssocID="{BB11D13A-5E20-4AC2-A866-1F95EFB7A160}" presName="horz1" presStyleCnt="0"/>
      <dgm:spPr/>
    </dgm:pt>
    <dgm:pt modelId="{1FA0210D-36CD-4D84-8F13-96ED01FA59BE}" type="pres">
      <dgm:prSet presAssocID="{BB11D13A-5E20-4AC2-A866-1F95EFB7A160}" presName="tx1" presStyleLbl="revTx" presStyleIdx="1" presStyleCnt="3"/>
      <dgm:spPr/>
    </dgm:pt>
    <dgm:pt modelId="{9FA09765-94C2-42D0-8878-3C8ED10D0664}" type="pres">
      <dgm:prSet presAssocID="{BB11D13A-5E20-4AC2-A866-1F95EFB7A160}" presName="vert1" presStyleCnt="0"/>
      <dgm:spPr/>
    </dgm:pt>
    <dgm:pt modelId="{8D247455-7353-4B52-9102-CCFFCE8A238C}" type="pres">
      <dgm:prSet presAssocID="{045016F9-2B4E-4794-97E1-0BFA777D7538}" presName="thickLine" presStyleLbl="alignNode1" presStyleIdx="2" presStyleCnt="3"/>
      <dgm:spPr/>
    </dgm:pt>
    <dgm:pt modelId="{42FE765A-8629-4B66-A61E-A3CA3D160A50}" type="pres">
      <dgm:prSet presAssocID="{045016F9-2B4E-4794-97E1-0BFA777D7538}" presName="horz1" presStyleCnt="0"/>
      <dgm:spPr/>
    </dgm:pt>
    <dgm:pt modelId="{B52A85BC-DC0B-42CC-AE63-90C14083AB62}" type="pres">
      <dgm:prSet presAssocID="{045016F9-2B4E-4794-97E1-0BFA777D7538}" presName="tx1" presStyleLbl="revTx" presStyleIdx="2" presStyleCnt="3"/>
      <dgm:spPr/>
    </dgm:pt>
    <dgm:pt modelId="{D436E567-4304-4BBD-BD02-8A150C1F66E0}" type="pres">
      <dgm:prSet presAssocID="{045016F9-2B4E-4794-97E1-0BFA777D7538}" presName="vert1" presStyleCnt="0"/>
      <dgm:spPr/>
    </dgm:pt>
  </dgm:ptLst>
  <dgm:cxnLst>
    <dgm:cxn modelId="{C4B29902-ECCD-4010-96B1-116BBB916B22}" type="presOf" srcId="{127FBF25-9278-4EAE-A0ED-2D9901AFF43A}" destId="{0D4524DA-B977-4391-A2FD-94F14EC99222}" srcOrd="0" destOrd="0" presId="urn:microsoft.com/office/officeart/2008/layout/LinedList"/>
    <dgm:cxn modelId="{FDE7F945-F003-4B1F-8663-AFF863D93AFD}" srcId="{67EF106D-DE7D-4602-BB55-0C0F6DF32915}" destId="{127FBF25-9278-4EAE-A0ED-2D9901AFF43A}" srcOrd="0" destOrd="0" parTransId="{B741B110-F043-470C-9FC9-94998A07DA49}" sibTransId="{DBB65007-4F0C-4CCD-B636-7ABA514CD948}"/>
    <dgm:cxn modelId="{E8F12966-290B-4365-8A14-F0ED78ABA2FC}" srcId="{67EF106D-DE7D-4602-BB55-0C0F6DF32915}" destId="{045016F9-2B4E-4794-97E1-0BFA777D7538}" srcOrd="2" destOrd="0" parTransId="{0F04FD65-1A23-4076-997E-B3FD1A531C87}" sibTransId="{455A9640-6075-46E8-9949-D91E05426126}"/>
    <dgm:cxn modelId="{2BFFAF8A-B18B-4134-B36B-35B34FF23854}" type="presOf" srcId="{67EF106D-DE7D-4602-BB55-0C0F6DF32915}" destId="{0872353F-7D84-455D-8DEB-088C9CEF179D}" srcOrd="0" destOrd="0" presId="urn:microsoft.com/office/officeart/2008/layout/LinedList"/>
    <dgm:cxn modelId="{A89DC9BF-28D3-4BC2-BD81-18D13F27607F}" type="presOf" srcId="{045016F9-2B4E-4794-97E1-0BFA777D7538}" destId="{B52A85BC-DC0B-42CC-AE63-90C14083AB62}" srcOrd="0" destOrd="0" presId="urn:microsoft.com/office/officeart/2008/layout/LinedList"/>
    <dgm:cxn modelId="{7E7359EF-D652-4A54-994B-3D8CE70AEA25}" type="presOf" srcId="{BB11D13A-5E20-4AC2-A866-1F95EFB7A160}" destId="{1FA0210D-36CD-4D84-8F13-96ED01FA59BE}" srcOrd="0" destOrd="0" presId="urn:microsoft.com/office/officeart/2008/layout/LinedList"/>
    <dgm:cxn modelId="{CB9128F0-9475-46A1-9682-989138882E42}" srcId="{67EF106D-DE7D-4602-BB55-0C0F6DF32915}" destId="{BB11D13A-5E20-4AC2-A866-1F95EFB7A160}" srcOrd="1" destOrd="0" parTransId="{89166CC2-9102-45F4-A800-54EFE5D3A7CC}" sibTransId="{54018D55-2F3D-4EBD-B296-8D298C742706}"/>
    <dgm:cxn modelId="{2DB9B993-9D29-437A-8883-66668F9513F7}" type="presParOf" srcId="{0872353F-7D84-455D-8DEB-088C9CEF179D}" destId="{43D3430C-0389-409A-90DF-99BDE5C231EB}" srcOrd="0" destOrd="0" presId="urn:microsoft.com/office/officeart/2008/layout/LinedList"/>
    <dgm:cxn modelId="{58636128-72A8-4AC7-A1A5-17D9D5092977}" type="presParOf" srcId="{0872353F-7D84-455D-8DEB-088C9CEF179D}" destId="{79D2F896-650F-4851-8A9B-0FFD63E7BE65}" srcOrd="1" destOrd="0" presId="urn:microsoft.com/office/officeart/2008/layout/LinedList"/>
    <dgm:cxn modelId="{93E72A37-9CFD-435A-8373-6F80EB862EC1}" type="presParOf" srcId="{79D2F896-650F-4851-8A9B-0FFD63E7BE65}" destId="{0D4524DA-B977-4391-A2FD-94F14EC99222}" srcOrd="0" destOrd="0" presId="urn:microsoft.com/office/officeart/2008/layout/LinedList"/>
    <dgm:cxn modelId="{E7D36D45-DD48-40F9-8467-9FB5A9F14C16}" type="presParOf" srcId="{79D2F896-650F-4851-8A9B-0FFD63E7BE65}" destId="{2CCD27E9-5BA0-4FA7-A622-1279EDA1A37D}" srcOrd="1" destOrd="0" presId="urn:microsoft.com/office/officeart/2008/layout/LinedList"/>
    <dgm:cxn modelId="{28BCBF9B-A4BA-487C-8513-9150AD73878F}" type="presParOf" srcId="{0872353F-7D84-455D-8DEB-088C9CEF179D}" destId="{BE3F3705-0C77-4E54-9A93-27CB2737372B}" srcOrd="2" destOrd="0" presId="urn:microsoft.com/office/officeart/2008/layout/LinedList"/>
    <dgm:cxn modelId="{DE9201F3-4749-41BA-8360-B3F64D58DE91}" type="presParOf" srcId="{0872353F-7D84-455D-8DEB-088C9CEF179D}" destId="{242CB495-EA2B-4A41-9A68-69DE0397778A}" srcOrd="3" destOrd="0" presId="urn:microsoft.com/office/officeart/2008/layout/LinedList"/>
    <dgm:cxn modelId="{616FAECD-CF90-4FD4-97FC-FD7333609995}" type="presParOf" srcId="{242CB495-EA2B-4A41-9A68-69DE0397778A}" destId="{1FA0210D-36CD-4D84-8F13-96ED01FA59BE}" srcOrd="0" destOrd="0" presId="urn:microsoft.com/office/officeart/2008/layout/LinedList"/>
    <dgm:cxn modelId="{27B3B3C6-974F-4D70-AAB5-CE589821FE15}" type="presParOf" srcId="{242CB495-EA2B-4A41-9A68-69DE0397778A}" destId="{9FA09765-94C2-42D0-8878-3C8ED10D0664}" srcOrd="1" destOrd="0" presId="urn:microsoft.com/office/officeart/2008/layout/LinedList"/>
    <dgm:cxn modelId="{AA2F359D-46D2-48B0-984D-D7B881EA62AB}" type="presParOf" srcId="{0872353F-7D84-455D-8DEB-088C9CEF179D}" destId="{8D247455-7353-4B52-9102-CCFFCE8A238C}" srcOrd="4" destOrd="0" presId="urn:microsoft.com/office/officeart/2008/layout/LinedList"/>
    <dgm:cxn modelId="{DC410EE8-9C4B-4701-8CB4-8DD4344106DF}" type="presParOf" srcId="{0872353F-7D84-455D-8DEB-088C9CEF179D}" destId="{42FE765A-8629-4B66-A61E-A3CA3D160A50}" srcOrd="5" destOrd="0" presId="urn:microsoft.com/office/officeart/2008/layout/LinedList"/>
    <dgm:cxn modelId="{21800F47-B1CB-4E45-987D-7705F73B3B39}" type="presParOf" srcId="{42FE765A-8629-4B66-A61E-A3CA3D160A50}" destId="{B52A85BC-DC0B-42CC-AE63-90C14083AB62}" srcOrd="0" destOrd="0" presId="urn:microsoft.com/office/officeart/2008/layout/LinedList"/>
    <dgm:cxn modelId="{06681C80-0A2F-439B-934F-02EB141CDD57}" type="presParOf" srcId="{42FE765A-8629-4B66-A61E-A3CA3D160A50}" destId="{D436E567-4304-4BBD-BD02-8A150C1F66E0}" srcOrd="1" destOrd="0" presId="urn:microsoft.com/office/officeart/2008/layout/LinedList"/>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7368D0B-0430-4A91-94E1-D0097F6BB4F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017CA063-7EEA-489C-87A9-E2147DD0A5AD}">
      <dgm:prSet custT="1"/>
      <dgm:spPr/>
      <dgm:t>
        <a:bodyPr/>
        <a:lstStyle/>
        <a:p>
          <a:r>
            <a:rPr lang="en-US" sz="2000" b="1"/>
            <a:t>Design</a:t>
          </a:r>
          <a:r>
            <a:rPr lang="en-US" sz="2000"/>
            <a:t> Time Errors</a:t>
          </a:r>
        </a:p>
      </dgm:t>
    </dgm:pt>
    <dgm:pt modelId="{E0B8EF2F-113F-4507-B8FC-3374D37646B0}" type="parTrans" cxnId="{27388B70-3F24-45ED-AE22-CF9A1F9E0AC5}">
      <dgm:prSet/>
      <dgm:spPr/>
      <dgm:t>
        <a:bodyPr/>
        <a:lstStyle/>
        <a:p>
          <a:endParaRPr lang="en-US" sz="2000"/>
        </a:p>
      </dgm:t>
    </dgm:pt>
    <dgm:pt modelId="{BD1C0346-86D3-4E46-82D3-0636A98D6820}" type="sibTrans" cxnId="{27388B70-3F24-45ED-AE22-CF9A1F9E0AC5}">
      <dgm:prSet/>
      <dgm:spPr/>
      <dgm:t>
        <a:bodyPr/>
        <a:lstStyle/>
        <a:p>
          <a:endParaRPr lang="en-US" sz="2000"/>
        </a:p>
      </dgm:t>
    </dgm:pt>
    <dgm:pt modelId="{1635F56D-E788-4300-B08E-66F105414E60}">
      <dgm:prSet custT="1"/>
      <dgm:spPr/>
      <dgm:t>
        <a:bodyPr/>
        <a:lstStyle/>
        <a:p>
          <a:r>
            <a:rPr lang="en-US" sz="2000" b="1"/>
            <a:t>Syntax</a:t>
          </a:r>
          <a:r>
            <a:rPr lang="en-US" sz="2000"/>
            <a:t> errors</a:t>
          </a:r>
        </a:p>
      </dgm:t>
    </dgm:pt>
    <dgm:pt modelId="{58E16C08-E058-4264-A239-B00ACBD2A41C}" type="parTrans" cxnId="{F33CB2CA-1AB6-4B41-ACEC-70149B37A6CC}">
      <dgm:prSet/>
      <dgm:spPr/>
      <dgm:t>
        <a:bodyPr/>
        <a:lstStyle/>
        <a:p>
          <a:endParaRPr lang="en-US" sz="2000"/>
        </a:p>
      </dgm:t>
    </dgm:pt>
    <dgm:pt modelId="{993EC587-4929-4010-A6BE-20373D4ABDAE}" type="sibTrans" cxnId="{F33CB2CA-1AB6-4B41-ACEC-70149B37A6CC}">
      <dgm:prSet/>
      <dgm:spPr/>
      <dgm:t>
        <a:bodyPr/>
        <a:lstStyle/>
        <a:p>
          <a:endParaRPr lang="en-US" sz="2000"/>
        </a:p>
      </dgm:t>
    </dgm:pt>
    <dgm:pt modelId="{3A25F396-3993-40C8-ACE1-6100753554C6}">
      <dgm:prSet custT="1"/>
      <dgm:spPr/>
      <dgm:t>
        <a:bodyPr/>
        <a:lstStyle/>
        <a:p>
          <a:r>
            <a:rPr lang="en-US" sz="2000" b="1"/>
            <a:t>Runtime</a:t>
          </a:r>
          <a:r>
            <a:rPr lang="en-US" sz="2000"/>
            <a:t> Errors</a:t>
          </a:r>
        </a:p>
      </dgm:t>
    </dgm:pt>
    <dgm:pt modelId="{9F443CF8-BAD5-4D7B-8C3F-00C5B2AE8846}" type="parTrans" cxnId="{B0D103B2-7607-4880-AF30-065C2C18CF0D}">
      <dgm:prSet/>
      <dgm:spPr/>
      <dgm:t>
        <a:bodyPr/>
        <a:lstStyle/>
        <a:p>
          <a:endParaRPr lang="en-US" sz="2000"/>
        </a:p>
      </dgm:t>
    </dgm:pt>
    <dgm:pt modelId="{E68B217B-2C11-448A-B532-3BDBE2C3ACEB}" type="sibTrans" cxnId="{B0D103B2-7607-4880-AF30-065C2C18CF0D}">
      <dgm:prSet/>
      <dgm:spPr/>
      <dgm:t>
        <a:bodyPr/>
        <a:lstStyle/>
        <a:p>
          <a:endParaRPr lang="en-US" sz="2000"/>
        </a:p>
      </dgm:t>
    </dgm:pt>
    <dgm:pt modelId="{DFC8C568-FF11-4699-AEFE-46FE489A4FFE}">
      <dgm:prSet custT="1"/>
      <dgm:spPr/>
      <dgm:t>
        <a:bodyPr/>
        <a:lstStyle/>
        <a:p>
          <a:r>
            <a:rPr lang="en-US" sz="2000"/>
            <a:t>Occur during code </a:t>
          </a:r>
          <a:r>
            <a:rPr lang="en-US" sz="2000" b="1"/>
            <a:t>execution</a:t>
          </a:r>
        </a:p>
      </dgm:t>
    </dgm:pt>
    <dgm:pt modelId="{A1488A11-3EB0-43EC-ADD8-CE32EAC799D1}" type="parTrans" cxnId="{A016E30E-1A39-474E-BF9E-0FDBB3C1C509}">
      <dgm:prSet/>
      <dgm:spPr/>
      <dgm:t>
        <a:bodyPr/>
        <a:lstStyle/>
        <a:p>
          <a:endParaRPr lang="en-US" sz="2000"/>
        </a:p>
      </dgm:t>
    </dgm:pt>
    <dgm:pt modelId="{627EABCD-1292-4970-B9FF-F0B08E5E2061}" type="sibTrans" cxnId="{A016E30E-1A39-474E-BF9E-0FDBB3C1C509}">
      <dgm:prSet/>
      <dgm:spPr/>
      <dgm:t>
        <a:bodyPr/>
        <a:lstStyle/>
        <a:p>
          <a:endParaRPr lang="en-US" sz="2000"/>
        </a:p>
      </dgm:t>
    </dgm:pt>
    <dgm:pt modelId="{70384DAB-A935-40DF-B270-46CCCB8C061A}">
      <dgm:prSet custT="1">
        <dgm:style>
          <a:lnRef idx="1">
            <a:schemeClr val="accent5"/>
          </a:lnRef>
          <a:fillRef idx="2">
            <a:schemeClr val="accent5"/>
          </a:fillRef>
          <a:effectRef idx="1">
            <a:schemeClr val="accent5"/>
          </a:effectRef>
          <a:fontRef idx="minor">
            <a:schemeClr val="dk1"/>
          </a:fontRef>
        </dgm:style>
      </dgm:prSet>
      <dgm:spPr>
        <a:ln/>
      </dgm:spPr>
      <dgm:t>
        <a:bodyPr/>
        <a:lstStyle/>
        <a:p>
          <a:r>
            <a:rPr lang="en-US" sz="2000" b="1"/>
            <a:t>Terminating</a:t>
          </a:r>
        </a:p>
      </dgm:t>
    </dgm:pt>
    <dgm:pt modelId="{C6C2C04D-DAFC-45F4-8786-BA0F4ECD7E45}" type="parTrans" cxnId="{0233E359-9396-4B0F-84E5-3E6D5511F831}">
      <dgm:prSet/>
      <dgm:spPr/>
      <dgm:t>
        <a:bodyPr/>
        <a:lstStyle/>
        <a:p>
          <a:endParaRPr lang="en-US" sz="2000"/>
        </a:p>
      </dgm:t>
    </dgm:pt>
    <dgm:pt modelId="{E6F2C668-DF59-4A07-B127-86B345020ABF}" type="sibTrans" cxnId="{0233E359-9396-4B0F-84E5-3E6D5511F831}">
      <dgm:prSet/>
      <dgm:spPr/>
      <dgm:t>
        <a:bodyPr/>
        <a:lstStyle/>
        <a:p>
          <a:endParaRPr lang="en-US" sz="2000"/>
        </a:p>
      </dgm:t>
    </dgm:pt>
    <dgm:pt modelId="{DF744D0F-306D-4F4A-8639-D0869249AF71}">
      <dgm:prSet custT="1"/>
      <dgm:spPr/>
      <dgm:t>
        <a:bodyPr/>
        <a:lstStyle/>
        <a:p>
          <a:r>
            <a:rPr lang="en-US" sz="2000"/>
            <a:t>Code statement </a:t>
          </a:r>
          <a:r>
            <a:rPr lang="en-US" sz="2000" b="1"/>
            <a:t>immediately</a:t>
          </a:r>
          <a:r>
            <a:rPr lang="en-US" sz="2000"/>
            <a:t> </a:t>
          </a:r>
          <a:r>
            <a:rPr lang="en-US" sz="2000" b="1"/>
            <a:t>stops</a:t>
          </a:r>
        </a:p>
      </dgm:t>
    </dgm:pt>
    <dgm:pt modelId="{5E668CAE-54BF-45E4-B137-0EC033D19DAA}" type="parTrans" cxnId="{A6BE3C04-6693-4D44-A499-9BD996BFD395}">
      <dgm:prSet/>
      <dgm:spPr/>
      <dgm:t>
        <a:bodyPr/>
        <a:lstStyle/>
        <a:p>
          <a:endParaRPr lang="en-US" sz="2000"/>
        </a:p>
      </dgm:t>
    </dgm:pt>
    <dgm:pt modelId="{62FE0FC5-7600-47EC-A8C9-D3CFBC2D0B0E}" type="sibTrans" cxnId="{A6BE3C04-6693-4D44-A499-9BD996BFD395}">
      <dgm:prSet/>
      <dgm:spPr/>
      <dgm:t>
        <a:bodyPr/>
        <a:lstStyle/>
        <a:p>
          <a:endParaRPr lang="en-US" sz="2000"/>
        </a:p>
      </dgm:t>
    </dgm:pt>
    <dgm:pt modelId="{780B5F9D-2EA8-4921-8760-6EFA32BEF820}">
      <dgm:prSet custT="1">
        <dgm:style>
          <a:lnRef idx="1">
            <a:schemeClr val="accent5"/>
          </a:lnRef>
          <a:fillRef idx="2">
            <a:schemeClr val="accent5"/>
          </a:fillRef>
          <a:effectRef idx="1">
            <a:schemeClr val="accent5"/>
          </a:effectRef>
          <a:fontRef idx="minor">
            <a:schemeClr val="dk1"/>
          </a:fontRef>
        </dgm:style>
      </dgm:prSet>
      <dgm:spPr>
        <a:ln/>
      </dgm:spPr>
      <dgm:t>
        <a:bodyPr/>
        <a:lstStyle/>
        <a:p>
          <a:r>
            <a:rPr lang="en-US" sz="2000" b="1"/>
            <a:t>Non-Terminating</a:t>
          </a:r>
        </a:p>
      </dgm:t>
    </dgm:pt>
    <dgm:pt modelId="{D5DE806A-ED2B-4D26-813F-E2B3CA261BBB}" type="parTrans" cxnId="{266E9945-EA89-4BB8-95F3-BA8623094CF7}">
      <dgm:prSet/>
      <dgm:spPr/>
      <dgm:t>
        <a:bodyPr/>
        <a:lstStyle/>
        <a:p>
          <a:endParaRPr lang="en-US" sz="2000"/>
        </a:p>
      </dgm:t>
    </dgm:pt>
    <dgm:pt modelId="{ADBC7F68-939D-4935-831A-E1C724BA27EC}" type="sibTrans" cxnId="{266E9945-EA89-4BB8-95F3-BA8623094CF7}">
      <dgm:prSet/>
      <dgm:spPr/>
      <dgm:t>
        <a:bodyPr/>
        <a:lstStyle/>
        <a:p>
          <a:endParaRPr lang="en-US" sz="2000"/>
        </a:p>
      </dgm:t>
    </dgm:pt>
    <dgm:pt modelId="{ABAE8EAC-BF61-4FDB-A456-7F3A0D3F9C4A}">
      <dgm:prSet custT="1"/>
      <dgm:spPr/>
      <dgm:t>
        <a:bodyPr/>
        <a:lstStyle/>
        <a:p>
          <a:r>
            <a:rPr lang="en-US" sz="2000"/>
            <a:t>Code execution will </a:t>
          </a:r>
          <a:r>
            <a:rPr lang="en-US" sz="2000" b="1"/>
            <a:t>continue</a:t>
          </a:r>
          <a:endParaRPr lang="en-US" sz="2000"/>
        </a:p>
      </dgm:t>
    </dgm:pt>
    <dgm:pt modelId="{6C33A3F2-F36C-499F-A690-D2879FDB2A51}" type="parTrans" cxnId="{C1D03E43-4B49-4229-8A1E-650A72BD2B85}">
      <dgm:prSet/>
      <dgm:spPr/>
      <dgm:t>
        <a:bodyPr/>
        <a:lstStyle/>
        <a:p>
          <a:endParaRPr lang="en-US" sz="2000"/>
        </a:p>
      </dgm:t>
    </dgm:pt>
    <dgm:pt modelId="{C52CB6A7-D968-45B1-826C-29658AAE76BD}" type="sibTrans" cxnId="{C1D03E43-4B49-4229-8A1E-650A72BD2B85}">
      <dgm:prSet/>
      <dgm:spPr/>
      <dgm:t>
        <a:bodyPr/>
        <a:lstStyle/>
        <a:p>
          <a:endParaRPr lang="en-US" sz="2000"/>
        </a:p>
      </dgm:t>
    </dgm:pt>
    <dgm:pt modelId="{3A238D26-86DE-426E-BAE2-06A752A5356B}">
      <dgm:prSet custT="1"/>
      <dgm:spPr/>
      <dgm:t>
        <a:bodyPr/>
        <a:lstStyle/>
        <a:p>
          <a:r>
            <a:rPr lang="en-US" sz="2000"/>
            <a:t>Can optionally be </a:t>
          </a:r>
          <a:r>
            <a:rPr lang="en-US" sz="2000" b="1"/>
            <a:t>converted</a:t>
          </a:r>
          <a:r>
            <a:rPr lang="en-US" sz="2000"/>
            <a:t> to terminating error</a:t>
          </a:r>
        </a:p>
      </dgm:t>
    </dgm:pt>
    <dgm:pt modelId="{17CE893A-1C9D-497C-B8B1-0CD70E5526EE}" type="parTrans" cxnId="{3823398D-889A-42F8-B019-DB0494618ADE}">
      <dgm:prSet/>
      <dgm:spPr/>
      <dgm:t>
        <a:bodyPr/>
        <a:lstStyle/>
        <a:p>
          <a:endParaRPr lang="en-US" sz="2000"/>
        </a:p>
      </dgm:t>
    </dgm:pt>
    <dgm:pt modelId="{CB70C4D9-37DE-4DB1-8A58-0E169173E03C}" type="sibTrans" cxnId="{3823398D-889A-42F8-B019-DB0494618ADE}">
      <dgm:prSet/>
      <dgm:spPr/>
      <dgm:t>
        <a:bodyPr/>
        <a:lstStyle/>
        <a:p>
          <a:endParaRPr lang="en-US" sz="2000"/>
        </a:p>
      </dgm:t>
    </dgm:pt>
    <dgm:pt modelId="{BED28A7B-CE49-4B51-AE67-1409A51D7BBE}">
      <dgm:prSet custT="1"/>
      <dgm:spPr/>
      <dgm:t>
        <a:bodyPr/>
        <a:lstStyle/>
        <a:p>
          <a:r>
            <a:rPr lang="en-US" sz="2000" b="1"/>
            <a:t>No exception </a:t>
          </a:r>
          <a:r>
            <a:rPr lang="en-US" sz="2000"/>
            <a:t>object created</a:t>
          </a:r>
        </a:p>
      </dgm:t>
    </dgm:pt>
    <dgm:pt modelId="{A7F1BCD9-5A72-49BE-8B7F-2C6BC8D9CFB3}" type="parTrans" cxnId="{DFB09E5C-9098-489B-85DE-340D5881E010}">
      <dgm:prSet/>
      <dgm:spPr/>
      <dgm:t>
        <a:bodyPr/>
        <a:lstStyle/>
        <a:p>
          <a:endParaRPr lang="en-US" sz="2000"/>
        </a:p>
      </dgm:t>
    </dgm:pt>
    <dgm:pt modelId="{25FE0145-3307-41D1-96F1-AFEFB0FE9519}" type="sibTrans" cxnId="{DFB09E5C-9098-489B-85DE-340D5881E010}">
      <dgm:prSet/>
      <dgm:spPr/>
      <dgm:t>
        <a:bodyPr/>
        <a:lstStyle/>
        <a:p>
          <a:endParaRPr lang="en-US" sz="2000"/>
        </a:p>
      </dgm:t>
    </dgm:pt>
    <dgm:pt modelId="{0BD53B49-DD7F-43BD-B0E1-DDF09272EA77}">
      <dgm:prSet custT="1"/>
      <dgm:spPr/>
      <dgm:t>
        <a:bodyPr/>
        <a:lstStyle/>
        <a:p>
          <a:r>
            <a:rPr lang="en-US" sz="2000" b="1"/>
            <a:t>Creates</a:t>
          </a:r>
          <a:r>
            <a:rPr lang="en-US" sz="2000"/>
            <a:t> an </a:t>
          </a:r>
          <a:r>
            <a:rPr lang="en-US" sz="2000" b="1"/>
            <a:t>exception</a:t>
          </a:r>
          <a:r>
            <a:rPr lang="en-US" sz="2000"/>
            <a:t> object in the </a:t>
          </a:r>
          <a:r>
            <a:rPr lang="en-US" sz="2000" b="1"/>
            <a:t>$Error </a:t>
          </a:r>
          <a:r>
            <a:rPr lang="en-US" sz="2000"/>
            <a:t>automatic variable</a:t>
          </a:r>
        </a:p>
      </dgm:t>
    </dgm:pt>
    <dgm:pt modelId="{81B23A5F-4DC2-4C73-9FB9-25528BD723EB}" type="parTrans" cxnId="{F8E25814-6E86-4B49-8173-78EE35E8B259}">
      <dgm:prSet/>
      <dgm:spPr/>
      <dgm:t>
        <a:bodyPr/>
        <a:lstStyle/>
        <a:p>
          <a:endParaRPr lang="en-US" sz="2000"/>
        </a:p>
      </dgm:t>
    </dgm:pt>
    <dgm:pt modelId="{894B1C26-EDEC-43D0-8EAD-929155809293}" type="sibTrans" cxnId="{F8E25814-6E86-4B49-8173-78EE35E8B259}">
      <dgm:prSet/>
      <dgm:spPr/>
      <dgm:t>
        <a:bodyPr/>
        <a:lstStyle/>
        <a:p>
          <a:endParaRPr lang="en-US" sz="2000"/>
        </a:p>
      </dgm:t>
    </dgm:pt>
    <dgm:pt modelId="{77DF58F8-0D94-4B12-ADE9-2B5AFCEB4CE0}">
      <dgm:prSet custT="1"/>
      <dgm:spPr/>
      <dgm:t>
        <a:bodyPr/>
        <a:lstStyle/>
        <a:p>
          <a:r>
            <a:rPr lang="en-US" sz="2000"/>
            <a:t>Code </a:t>
          </a:r>
          <a:r>
            <a:rPr lang="en-US" sz="2000" b="1"/>
            <a:t>unable</a:t>
          </a:r>
          <a:r>
            <a:rPr lang="en-US" sz="2000"/>
            <a:t> to execute</a:t>
          </a:r>
        </a:p>
      </dgm:t>
    </dgm:pt>
    <dgm:pt modelId="{28581263-B85D-4E82-9100-64C383DD29E6}" type="parTrans" cxnId="{3CE41112-9F45-4C16-B280-1FBFA42EE647}">
      <dgm:prSet/>
      <dgm:spPr/>
      <dgm:t>
        <a:bodyPr/>
        <a:lstStyle/>
        <a:p>
          <a:endParaRPr lang="en-US" sz="2000"/>
        </a:p>
      </dgm:t>
    </dgm:pt>
    <dgm:pt modelId="{340BC9A8-950D-415C-845B-11F9F6C1AF6E}" type="sibTrans" cxnId="{3CE41112-9F45-4C16-B280-1FBFA42EE647}">
      <dgm:prSet/>
      <dgm:spPr/>
      <dgm:t>
        <a:bodyPr/>
        <a:lstStyle/>
        <a:p>
          <a:endParaRPr lang="en-US" sz="2000"/>
        </a:p>
      </dgm:t>
    </dgm:pt>
    <dgm:pt modelId="{86C9A9DE-A629-4051-80E7-6A14F0365800}">
      <dgm:prSet custT="1"/>
      <dgm:spPr/>
      <dgm:t>
        <a:bodyPr/>
        <a:lstStyle/>
        <a:p>
          <a:r>
            <a:rPr lang="en-US" sz="2000"/>
            <a:t>Will stop function/script if not handled		    </a:t>
          </a:r>
        </a:p>
      </dgm:t>
    </dgm:pt>
    <dgm:pt modelId="{A82F379E-D306-44CA-8C80-3DAF6F92FA7C}" type="parTrans" cxnId="{4B6E77BD-80AA-4B32-B463-09CB88D4EC14}">
      <dgm:prSet/>
      <dgm:spPr/>
      <dgm:t>
        <a:bodyPr/>
        <a:lstStyle/>
        <a:p>
          <a:endParaRPr lang="en-US" sz="2000"/>
        </a:p>
      </dgm:t>
    </dgm:pt>
    <dgm:pt modelId="{F2D08B29-119F-4521-A684-2674AFE027B3}" type="sibTrans" cxnId="{4B6E77BD-80AA-4B32-B463-09CB88D4EC14}">
      <dgm:prSet/>
      <dgm:spPr/>
      <dgm:t>
        <a:bodyPr/>
        <a:lstStyle/>
        <a:p>
          <a:endParaRPr lang="en-US" sz="2000"/>
        </a:p>
      </dgm:t>
    </dgm:pt>
    <dgm:pt modelId="{5D0FBEF5-2806-4BBD-8592-70D43A3F9C38}" type="pres">
      <dgm:prSet presAssocID="{47368D0B-0430-4A91-94E1-D0097F6BB4FA}" presName="linear" presStyleCnt="0">
        <dgm:presLayoutVars>
          <dgm:animLvl val="lvl"/>
          <dgm:resizeHandles val="exact"/>
        </dgm:presLayoutVars>
      </dgm:prSet>
      <dgm:spPr/>
    </dgm:pt>
    <dgm:pt modelId="{9293F5D5-11A7-4EBD-AB2A-32B587777418}" type="pres">
      <dgm:prSet presAssocID="{017CA063-7EEA-489C-87A9-E2147DD0A5AD}" presName="parentText" presStyleLbl="node1" presStyleIdx="0" presStyleCnt="4">
        <dgm:presLayoutVars>
          <dgm:chMax val="0"/>
          <dgm:bulletEnabled val="1"/>
        </dgm:presLayoutVars>
      </dgm:prSet>
      <dgm:spPr/>
    </dgm:pt>
    <dgm:pt modelId="{7AF8DD4D-1DF9-4453-B18B-6722014DB2E3}" type="pres">
      <dgm:prSet presAssocID="{017CA063-7EEA-489C-87A9-E2147DD0A5AD}" presName="childText" presStyleLbl="revTx" presStyleIdx="0" presStyleCnt="4">
        <dgm:presLayoutVars>
          <dgm:bulletEnabled val="1"/>
        </dgm:presLayoutVars>
      </dgm:prSet>
      <dgm:spPr/>
    </dgm:pt>
    <dgm:pt modelId="{4629E081-81D2-4582-A2BA-742FDD6A68FE}" type="pres">
      <dgm:prSet presAssocID="{3A25F396-3993-40C8-ACE1-6100753554C6}" presName="parentText" presStyleLbl="node1" presStyleIdx="1" presStyleCnt="4">
        <dgm:presLayoutVars>
          <dgm:chMax val="0"/>
          <dgm:bulletEnabled val="1"/>
        </dgm:presLayoutVars>
      </dgm:prSet>
      <dgm:spPr/>
    </dgm:pt>
    <dgm:pt modelId="{00CCB998-6F0D-472D-B2FF-CA60FBDBEED4}" type="pres">
      <dgm:prSet presAssocID="{3A25F396-3993-40C8-ACE1-6100753554C6}" presName="childText" presStyleLbl="revTx" presStyleIdx="1" presStyleCnt="4">
        <dgm:presLayoutVars>
          <dgm:bulletEnabled val="1"/>
        </dgm:presLayoutVars>
      </dgm:prSet>
      <dgm:spPr/>
    </dgm:pt>
    <dgm:pt modelId="{3FBABF3D-2F55-4E5F-951A-151AE4598E83}" type="pres">
      <dgm:prSet presAssocID="{70384DAB-A935-40DF-B270-46CCCB8C061A}" presName="parentText" presStyleLbl="node1" presStyleIdx="2" presStyleCnt="4" custScaleX="68946" custLinFactNeighborX="-12491" custLinFactNeighborY="1">
        <dgm:presLayoutVars>
          <dgm:chMax val="0"/>
          <dgm:bulletEnabled val="1"/>
        </dgm:presLayoutVars>
      </dgm:prSet>
      <dgm:spPr/>
    </dgm:pt>
    <dgm:pt modelId="{8098AF93-E156-4815-83B5-1E71AF597B15}" type="pres">
      <dgm:prSet presAssocID="{70384DAB-A935-40DF-B270-46CCCB8C061A}" presName="childText" presStyleLbl="revTx" presStyleIdx="2" presStyleCnt="4" custScaleX="96710" custLinFactNeighborX="423">
        <dgm:presLayoutVars>
          <dgm:bulletEnabled val="1"/>
        </dgm:presLayoutVars>
      </dgm:prSet>
      <dgm:spPr/>
    </dgm:pt>
    <dgm:pt modelId="{6CD1CEFF-7E15-429E-AC75-487FE9B71C17}" type="pres">
      <dgm:prSet presAssocID="{780B5F9D-2EA8-4921-8760-6EFA32BEF820}" presName="parentText" presStyleLbl="node1" presStyleIdx="3" presStyleCnt="4" custScaleX="68946" custLinFactNeighborX="-12491" custLinFactNeighborY="1">
        <dgm:presLayoutVars>
          <dgm:chMax val="0"/>
          <dgm:bulletEnabled val="1"/>
        </dgm:presLayoutVars>
      </dgm:prSet>
      <dgm:spPr/>
    </dgm:pt>
    <dgm:pt modelId="{BC794D44-C4FF-4CF0-9700-ADAD5ECE35C5}" type="pres">
      <dgm:prSet presAssocID="{780B5F9D-2EA8-4921-8760-6EFA32BEF820}" presName="childText" presStyleLbl="revTx" presStyleIdx="3" presStyleCnt="4" custScaleX="96710" custLinFactNeighborX="423">
        <dgm:presLayoutVars>
          <dgm:bulletEnabled val="1"/>
        </dgm:presLayoutVars>
      </dgm:prSet>
      <dgm:spPr/>
    </dgm:pt>
  </dgm:ptLst>
  <dgm:cxnLst>
    <dgm:cxn modelId="{6E60D902-86B5-4637-BC5E-57D40D220CD4}" type="presOf" srcId="{0BD53B49-DD7F-43BD-B0E1-DDF09272EA77}" destId="{00CCB998-6F0D-472D-B2FF-CA60FBDBEED4}" srcOrd="0" destOrd="1" presId="urn:microsoft.com/office/officeart/2005/8/layout/vList2"/>
    <dgm:cxn modelId="{A6BE3C04-6693-4D44-A499-9BD996BFD395}" srcId="{70384DAB-A935-40DF-B270-46CCCB8C061A}" destId="{DF744D0F-306D-4F4A-8639-D0869249AF71}" srcOrd="0" destOrd="0" parTransId="{5E668CAE-54BF-45E4-B137-0EC033D19DAA}" sibTransId="{62FE0FC5-7600-47EC-A8C9-D3CFBC2D0B0E}"/>
    <dgm:cxn modelId="{A016E30E-1A39-474E-BF9E-0FDBB3C1C509}" srcId="{3A25F396-3993-40C8-ACE1-6100753554C6}" destId="{DFC8C568-FF11-4699-AEFE-46FE489A4FFE}" srcOrd="0" destOrd="0" parTransId="{A1488A11-3EB0-43EC-ADD8-CE32EAC799D1}" sibTransId="{627EABCD-1292-4970-B9FF-F0B08E5E2061}"/>
    <dgm:cxn modelId="{DAF8930F-FF4E-4B1C-A9F9-573EB0AEE6EF}" type="presOf" srcId="{3A25F396-3993-40C8-ACE1-6100753554C6}" destId="{4629E081-81D2-4582-A2BA-742FDD6A68FE}" srcOrd="0" destOrd="0" presId="urn:microsoft.com/office/officeart/2005/8/layout/vList2"/>
    <dgm:cxn modelId="{3CE41112-9F45-4C16-B280-1FBFA42EE647}" srcId="{017CA063-7EEA-489C-87A9-E2147DD0A5AD}" destId="{77DF58F8-0D94-4B12-ADE9-2B5AFCEB4CE0}" srcOrd="2" destOrd="0" parTransId="{28581263-B85D-4E82-9100-64C383DD29E6}" sibTransId="{340BC9A8-950D-415C-845B-11F9F6C1AF6E}"/>
    <dgm:cxn modelId="{F8E25814-6E86-4B49-8173-78EE35E8B259}" srcId="{3A25F396-3993-40C8-ACE1-6100753554C6}" destId="{0BD53B49-DD7F-43BD-B0E1-DDF09272EA77}" srcOrd="1" destOrd="0" parTransId="{81B23A5F-4DC2-4C73-9FB9-25528BD723EB}" sibTransId="{894B1C26-EDEC-43D0-8EAD-929155809293}"/>
    <dgm:cxn modelId="{F624C217-05A1-4F48-9B8B-AB2FCD648681}" type="presOf" srcId="{DFC8C568-FF11-4699-AEFE-46FE489A4FFE}" destId="{00CCB998-6F0D-472D-B2FF-CA60FBDBEED4}" srcOrd="0" destOrd="0" presId="urn:microsoft.com/office/officeart/2005/8/layout/vList2"/>
    <dgm:cxn modelId="{9B7BFD27-9749-4050-96FB-C20C15BE57D5}" type="presOf" srcId="{DF744D0F-306D-4F4A-8639-D0869249AF71}" destId="{8098AF93-E156-4815-83B5-1E71AF597B15}" srcOrd="0" destOrd="0" presId="urn:microsoft.com/office/officeart/2005/8/layout/vList2"/>
    <dgm:cxn modelId="{B8697F2F-B5FC-4B8D-B84A-6552CB3DC463}" type="presOf" srcId="{86C9A9DE-A629-4051-80E7-6A14F0365800}" destId="{8098AF93-E156-4815-83B5-1E71AF597B15}" srcOrd="0" destOrd="1" presId="urn:microsoft.com/office/officeart/2005/8/layout/vList2"/>
    <dgm:cxn modelId="{4DE00232-B8B9-4984-BD9A-3698BEE6BB6C}" type="presOf" srcId="{47368D0B-0430-4A91-94E1-D0097F6BB4FA}" destId="{5D0FBEF5-2806-4BBD-8592-70D43A3F9C38}" srcOrd="0" destOrd="0" presId="urn:microsoft.com/office/officeart/2005/8/layout/vList2"/>
    <dgm:cxn modelId="{DFB09E5C-9098-489B-85DE-340D5881E010}" srcId="{017CA063-7EEA-489C-87A9-E2147DD0A5AD}" destId="{BED28A7B-CE49-4B51-AE67-1409A51D7BBE}" srcOrd="1" destOrd="0" parTransId="{A7F1BCD9-5A72-49BE-8B7F-2C6BC8D9CFB3}" sibTransId="{25FE0145-3307-41D1-96F1-AFEFB0FE9519}"/>
    <dgm:cxn modelId="{D42AB060-49AE-4A27-A70B-94B36BC53141}" type="presOf" srcId="{780B5F9D-2EA8-4921-8760-6EFA32BEF820}" destId="{6CD1CEFF-7E15-429E-AC75-487FE9B71C17}" srcOrd="0" destOrd="0" presId="urn:microsoft.com/office/officeart/2005/8/layout/vList2"/>
    <dgm:cxn modelId="{C1D03E43-4B49-4229-8A1E-650A72BD2B85}" srcId="{780B5F9D-2EA8-4921-8760-6EFA32BEF820}" destId="{ABAE8EAC-BF61-4FDB-A456-7F3A0D3F9C4A}" srcOrd="0" destOrd="0" parTransId="{6C33A3F2-F36C-499F-A690-D2879FDB2A51}" sibTransId="{C52CB6A7-D968-45B1-826C-29658AAE76BD}"/>
    <dgm:cxn modelId="{266E9945-EA89-4BB8-95F3-BA8623094CF7}" srcId="{47368D0B-0430-4A91-94E1-D0097F6BB4FA}" destId="{780B5F9D-2EA8-4921-8760-6EFA32BEF820}" srcOrd="3" destOrd="0" parTransId="{D5DE806A-ED2B-4D26-813F-E2B3CA261BBB}" sibTransId="{ADBC7F68-939D-4935-831A-E1C724BA27EC}"/>
    <dgm:cxn modelId="{27388B70-3F24-45ED-AE22-CF9A1F9E0AC5}" srcId="{47368D0B-0430-4A91-94E1-D0097F6BB4FA}" destId="{017CA063-7EEA-489C-87A9-E2147DD0A5AD}" srcOrd="0" destOrd="0" parTransId="{E0B8EF2F-113F-4507-B8FC-3374D37646B0}" sibTransId="{BD1C0346-86D3-4E46-82D3-0636A98D6820}"/>
    <dgm:cxn modelId="{D2B4D572-90B9-481C-A18A-35BF752D6DB7}" type="presOf" srcId="{77DF58F8-0D94-4B12-ADE9-2B5AFCEB4CE0}" destId="{7AF8DD4D-1DF9-4453-B18B-6722014DB2E3}" srcOrd="0" destOrd="2" presId="urn:microsoft.com/office/officeart/2005/8/layout/vList2"/>
    <dgm:cxn modelId="{17A77953-972E-46FE-AA6C-B187E764CB5C}" type="presOf" srcId="{017CA063-7EEA-489C-87A9-E2147DD0A5AD}" destId="{9293F5D5-11A7-4EBD-AB2A-32B587777418}" srcOrd="0" destOrd="0" presId="urn:microsoft.com/office/officeart/2005/8/layout/vList2"/>
    <dgm:cxn modelId="{BBC62854-276C-4996-A1F9-8974167844F2}" type="presOf" srcId="{ABAE8EAC-BF61-4FDB-A456-7F3A0D3F9C4A}" destId="{BC794D44-C4FF-4CF0-9700-ADAD5ECE35C5}" srcOrd="0" destOrd="0" presId="urn:microsoft.com/office/officeart/2005/8/layout/vList2"/>
    <dgm:cxn modelId="{0233E359-9396-4B0F-84E5-3E6D5511F831}" srcId="{47368D0B-0430-4A91-94E1-D0097F6BB4FA}" destId="{70384DAB-A935-40DF-B270-46CCCB8C061A}" srcOrd="2" destOrd="0" parTransId="{C6C2C04D-DAFC-45F4-8786-BA0F4ECD7E45}" sibTransId="{E6F2C668-DF59-4A07-B127-86B345020ABF}"/>
    <dgm:cxn modelId="{F94B348C-2A7F-4CE8-987A-EE93FF9AB83D}" type="presOf" srcId="{BED28A7B-CE49-4B51-AE67-1409A51D7BBE}" destId="{7AF8DD4D-1DF9-4453-B18B-6722014DB2E3}" srcOrd="0" destOrd="1" presId="urn:microsoft.com/office/officeart/2005/8/layout/vList2"/>
    <dgm:cxn modelId="{3823398D-889A-42F8-B019-DB0494618ADE}" srcId="{780B5F9D-2EA8-4921-8760-6EFA32BEF820}" destId="{3A238D26-86DE-426E-BAE2-06A752A5356B}" srcOrd="1" destOrd="0" parTransId="{17CE893A-1C9D-497C-B8B1-0CD70E5526EE}" sibTransId="{CB70C4D9-37DE-4DB1-8A58-0E169173E03C}"/>
    <dgm:cxn modelId="{E92C259F-E425-46BC-90C0-6F8731A7DC3F}" type="presOf" srcId="{70384DAB-A935-40DF-B270-46CCCB8C061A}" destId="{3FBABF3D-2F55-4E5F-951A-151AE4598E83}" srcOrd="0" destOrd="0" presId="urn:microsoft.com/office/officeart/2005/8/layout/vList2"/>
    <dgm:cxn modelId="{B0D103B2-7607-4880-AF30-065C2C18CF0D}" srcId="{47368D0B-0430-4A91-94E1-D0097F6BB4FA}" destId="{3A25F396-3993-40C8-ACE1-6100753554C6}" srcOrd="1" destOrd="0" parTransId="{9F443CF8-BAD5-4D7B-8C3F-00C5B2AE8846}" sibTransId="{E68B217B-2C11-448A-B532-3BDBE2C3ACEB}"/>
    <dgm:cxn modelId="{4B6E77BD-80AA-4B32-B463-09CB88D4EC14}" srcId="{70384DAB-A935-40DF-B270-46CCCB8C061A}" destId="{86C9A9DE-A629-4051-80E7-6A14F0365800}" srcOrd="1" destOrd="0" parTransId="{A82F379E-D306-44CA-8C80-3DAF6F92FA7C}" sibTransId="{F2D08B29-119F-4521-A684-2674AFE027B3}"/>
    <dgm:cxn modelId="{F33CB2CA-1AB6-4B41-ACEC-70149B37A6CC}" srcId="{017CA063-7EEA-489C-87A9-E2147DD0A5AD}" destId="{1635F56D-E788-4300-B08E-66F105414E60}" srcOrd="0" destOrd="0" parTransId="{58E16C08-E058-4264-A239-B00ACBD2A41C}" sibTransId="{993EC587-4929-4010-A6BE-20373D4ABDAE}"/>
    <dgm:cxn modelId="{31002BF0-9893-4178-9827-6F4A07D8C796}" type="presOf" srcId="{3A238D26-86DE-426E-BAE2-06A752A5356B}" destId="{BC794D44-C4FF-4CF0-9700-ADAD5ECE35C5}" srcOrd="0" destOrd="1" presId="urn:microsoft.com/office/officeart/2005/8/layout/vList2"/>
    <dgm:cxn modelId="{F6091CF9-C0FC-4961-B6E5-CF2B94195DFF}" type="presOf" srcId="{1635F56D-E788-4300-B08E-66F105414E60}" destId="{7AF8DD4D-1DF9-4453-B18B-6722014DB2E3}" srcOrd="0" destOrd="0" presId="urn:microsoft.com/office/officeart/2005/8/layout/vList2"/>
    <dgm:cxn modelId="{CE8DE011-4D95-4CED-B8BF-21A4AA9EFACC}" type="presParOf" srcId="{5D0FBEF5-2806-4BBD-8592-70D43A3F9C38}" destId="{9293F5D5-11A7-4EBD-AB2A-32B587777418}" srcOrd="0" destOrd="0" presId="urn:microsoft.com/office/officeart/2005/8/layout/vList2"/>
    <dgm:cxn modelId="{BCE0030B-76CB-4362-BFEF-82F3E4A9FDB6}" type="presParOf" srcId="{5D0FBEF5-2806-4BBD-8592-70D43A3F9C38}" destId="{7AF8DD4D-1DF9-4453-B18B-6722014DB2E3}" srcOrd="1" destOrd="0" presId="urn:microsoft.com/office/officeart/2005/8/layout/vList2"/>
    <dgm:cxn modelId="{358CCA27-3159-4350-8C0B-2312AE446DB4}" type="presParOf" srcId="{5D0FBEF5-2806-4BBD-8592-70D43A3F9C38}" destId="{4629E081-81D2-4582-A2BA-742FDD6A68FE}" srcOrd="2" destOrd="0" presId="urn:microsoft.com/office/officeart/2005/8/layout/vList2"/>
    <dgm:cxn modelId="{61ED4EDB-E438-4113-870A-A85B29AA8B7D}" type="presParOf" srcId="{5D0FBEF5-2806-4BBD-8592-70D43A3F9C38}" destId="{00CCB998-6F0D-472D-B2FF-CA60FBDBEED4}" srcOrd="3" destOrd="0" presId="urn:microsoft.com/office/officeart/2005/8/layout/vList2"/>
    <dgm:cxn modelId="{3A8C2249-539D-431C-AB03-11BC13E88D9C}" type="presParOf" srcId="{5D0FBEF5-2806-4BBD-8592-70D43A3F9C38}" destId="{3FBABF3D-2F55-4E5F-951A-151AE4598E83}" srcOrd="4" destOrd="0" presId="urn:microsoft.com/office/officeart/2005/8/layout/vList2"/>
    <dgm:cxn modelId="{7263BC6B-63CA-4C0C-8D51-36121E2068C7}" type="presParOf" srcId="{5D0FBEF5-2806-4BBD-8592-70D43A3F9C38}" destId="{8098AF93-E156-4815-83B5-1E71AF597B15}" srcOrd="5" destOrd="0" presId="urn:microsoft.com/office/officeart/2005/8/layout/vList2"/>
    <dgm:cxn modelId="{4DF48E8A-B290-4B49-B4FC-7400E4EAB424}" type="presParOf" srcId="{5D0FBEF5-2806-4BBD-8592-70D43A3F9C38}" destId="{6CD1CEFF-7E15-429E-AC75-487FE9B71C17}" srcOrd="6" destOrd="0" presId="urn:microsoft.com/office/officeart/2005/8/layout/vList2"/>
    <dgm:cxn modelId="{3BFE2619-B51F-4439-9077-32EE0E989118}" type="presParOf" srcId="{5D0FBEF5-2806-4BBD-8592-70D43A3F9C38}" destId="{BC794D44-C4FF-4CF0-9700-ADAD5ECE35C5}" srcOrd="7"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7368D0B-0430-4A91-94E1-D0097F6BB4F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017CA063-7EEA-489C-87A9-E2147DD0A5AD}">
      <dgm:prSet custT="1"/>
      <dgm:spPr/>
      <dgm:t>
        <a:bodyPr/>
        <a:lstStyle/>
        <a:p>
          <a:r>
            <a:rPr lang="en-US" sz="2000" b="1"/>
            <a:t>Design</a:t>
          </a:r>
          <a:r>
            <a:rPr lang="en-US" sz="2000"/>
            <a:t> Time Errors</a:t>
          </a:r>
        </a:p>
      </dgm:t>
    </dgm:pt>
    <dgm:pt modelId="{E0B8EF2F-113F-4507-B8FC-3374D37646B0}" type="parTrans" cxnId="{27388B70-3F24-45ED-AE22-CF9A1F9E0AC5}">
      <dgm:prSet/>
      <dgm:spPr/>
      <dgm:t>
        <a:bodyPr/>
        <a:lstStyle/>
        <a:p>
          <a:endParaRPr lang="en-US" sz="2000"/>
        </a:p>
      </dgm:t>
    </dgm:pt>
    <dgm:pt modelId="{BD1C0346-86D3-4E46-82D3-0636A98D6820}" type="sibTrans" cxnId="{27388B70-3F24-45ED-AE22-CF9A1F9E0AC5}">
      <dgm:prSet/>
      <dgm:spPr/>
      <dgm:t>
        <a:bodyPr/>
        <a:lstStyle/>
        <a:p>
          <a:endParaRPr lang="en-US" sz="2000"/>
        </a:p>
      </dgm:t>
    </dgm:pt>
    <dgm:pt modelId="{1635F56D-E788-4300-B08E-66F105414E60}">
      <dgm:prSet custT="1"/>
      <dgm:spPr/>
      <dgm:t>
        <a:bodyPr/>
        <a:lstStyle/>
        <a:p>
          <a:r>
            <a:rPr lang="en-US" sz="2000" b="1"/>
            <a:t>Syntax</a:t>
          </a:r>
          <a:r>
            <a:rPr lang="en-US" sz="2000"/>
            <a:t> errors</a:t>
          </a:r>
        </a:p>
      </dgm:t>
    </dgm:pt>
    <dgm:pt modelId="{58E16C08-E058-4264-A239-B00ACBD2A41C}" type="parTrans" cxnId="{F33CB2CA-1AB6-4B41-ACEC-70149B37A6CC}">
      <dgm:prSet/>
      <dgm:spPr/>
      <dgm:t>
        <a:bodyPr/>
        <a:lstStyle/>
        <a:p>
          <a:endParaRPr lang="en-US" sz="2000"/>
        </a:p>
      </dgm:t>
    </dgm:pt>
    <dgm:pt modelId="{993EC587-4929-4010-A6BE-20373D4ABDAE}" type="sibTrans" cxnId="{F33CB2CA-1AB6-4B41-ACEC-70149B37A6CC}">
      <dgm:prSet/>
      <dgm:spPr/>
      <dgm:t>
        <a:bodyPr/>
        <a:lstStyle/>
        <a:p>
          <a:endParaRPr lang="en-US" sz="2000"/>
        </a:p>
      </dgm:t>
    </dgm:pt>
    <dgm:pt modelId="{3A25F396-3993-40C8-ACE1-6100753554C6}">
      <dgm:prSet custT="1"/>
      <dgm:spPr/>
      <dgm:t>
        <a:bodyPr/>
        <a:lstStyle/>
        <a:p>
          <a:r>
            <a:rPr lang="en-US" sz="2000" b="1"/>
            <a:t>Runtime</a:t>
          </a:r>
          <a:r>
            <a:rPr lang="en-US" sz="2000"/>
            <a:t> Errors</a:t>
          </a:r>
        </a:p>
      </dgm:t>
    </dgm:pt>
    <dgm:pt modelId="{9F443CF8-BAD5-4D7B-8C3F-00C5B2AE8846}" type="parTrans" cxnId="{B0D103B2-7607-4880-AF30-065C2C18CF0D}">
      <dgm:prSet/>
      <dgm:spPr/>
      <dgm:t>
        <a:bodyPr/>
        <a:lstStyle/>
        <a:p>
          <a:endParaRPr lang="en-US" sz="2000"/>
        </a:p>
      </dgm:t>
    </dgm:pt>
    <dgm:pt modelId="{E68B217B-2C11-448A-B532-3BDBE2C3ACEB}" type="sibTrans" cxnId="{B0D103B2-7607-4880-AF30-065C2C18CF0D}">
      <dgm:prSet/>
      <dgm:spPr/>
      <dgm:t>
        <a:bodyPr/>
        <a:lstStyle/>
        <a:p>
          <a:endParaRPr lang="en-US" sz="2000"/>
        </a:p>
      </dgm:t>
    </dgm:pt>
    <dgm:pt modelId="{DFC8C568-FF11-4699-AEFE-46FE489A4FFE}">
      <dgm:prSet custT="1"/>
      <dgm:spPr/>
      <dgm:t>
        <a:bodyPr/>
        <a:lstStyle/>
        <a:p>
          <a:r>
            <a:rPr lang="en-US" sz="2000"/>
            <a:t>Occur during code </a:t>
          </a:r>
          <a:r>
            <a:rPr lang="en-US" sz="2000" b="1"/>
            <a:t>execution</a:t>
          </a:r>
        </a:p>
      </dgm:t>
    </dgm:pt>
    <dgm:pt modelId="{A1488A11-3EB0-43EC-ADD8-CE32EAC799D1}" type="parTrans" cxnId="{A016E30E-1A39-474E-BF9E-0FDBB3C1C509}">
      <dgm:prSet/>
      <dgm:spPr/>
      <dgm:t>
        <a:bodyPr/>
        <a:lstStyle/>
        <a:p>
          <a:endParaRPr lang="en-US" sz="2000"/>
        </a:p>
      </dgm:t>
    </dgm:pt>
    <dgm:pt modelId="{627EABCD-1292-4970-B9FF-F0B08E5E2061}" type="sibTrans" cxnId="{A016E30E-1A39-474E-BF9E-0FDBB3C1C509}">
      <dgm:prSet/>
      <dgm:spPr/>
      <dgm:t>
        <a:bodyPr/>
        <a:lstStyle/>
        <a:p>
          <a:endParaRPr lang="en-US" sz="2000"/>
        </a:p>
      </dgm:t>
    </dgm:pt>
    <dgm:pt modelId="{BED28A7B-CE49-4B51-AE67-1409A51D7BBE}">
      <dgm:prSet custT="1"/>
      <dgm:spPr/>
      <dgm:t>
        <a:bodyPr/>
        <a:lstStyle/>
        <a:p>
          <a:r>
            <a:rPr lang="en-US" sz="2000" b="1"/>
            <a:t>No exception </a:t>
          </a:r>
          <a:r>
            <a:rPr lang="en-US" sz="2000"/>
            <a:t>object created</a:t>
          </a:r>
        </a:p>
      </dgm:t>
    </dgm:pt>
    <dgm:pt modelId="{A7F1BCD9-5A72-49BE-8B7F-2C6BC8D9CFB3}" type="parTrans" cxnId="{DFB09E5C-9098-489B-85DE-340D5881E010}">
      <dgm:prSet/>
      <dgm:spPr/>
      <dgm:t>
        <a:bodyPr/>
        <a:lstStyle/>
        <a:p>
          <a:endParaRPr lang="en-US" sz="2000"/>
        </a:p>
      </dgm:t>
    </dgm:pt>
    <dgm:pt modelId="{25FE0145-3307-41D1-96F1-AFEFB0FE9519}" type="sibTrans" cxnId="{DFB09E5C-9098-489B-85DE-340D5881E010}">
      <dgm:prSet/>
      <dgm:spPr/>
      <dgm:t>
        <a:bodyPr/>
        <a:lstStyle/>
        <a:p>
          <a:endParaRPr lang="en-US" sz="2000"/>
        </a:p>
      </dgm:t>
    </dgm:pt>
    <dgm:pt modelId="{0BD53B49-DD7F-43BD-B0E1-DDF09272EA77}">
      <dgm:prSet custT="1"/>
      <dgm:spPr/>
      <dgm:t>
        <a:bodyPr/>
        <a:lstStyle/>
        <a:p>
          <a:r>
            <a:rPr lang="en-US" sz="2000" b="0"/>
            <a:t>Creates</a:t>
          </a:r>
          <a:r>
            <a:rPr lang="en-US" sz="2000"/>
            <a:t> an </a:t>
          </a:r>
          <a:r>
            <a:rPr lang="en-US" sz="2000" b="1"/>
            <a:t>exception</a:t>
          </a:r>
          <a:r>
            <a:rPr lang="en-US" sz="2000"/>
            <a:t> object in the </a:t>
          </a:r>
          <a:r>
            <a:rPr lang="en-US" sz="2000" b="1"/>
            <a:t>$Error </a:t>
          </a:r>
          <a:r>
            <a:rPr lang="en-US" sz="2000"/>
            <a:t>automatic variable</a:t>
          </a:r>
        </a:p>
      </dgm:t>
    </dgm:pt>
    <dgm:pt modelId="{81B23A5F-4DC2-4C73-9FB9-25528BD723EB}" type="parTrans" cxnId="{F8E25814-6E86-4B49-8173-78EE35E8B259}">
      <dgm:prSet/>
      <dgm:spPr/>
      <dgm:t>
        <a:bodyPr/>
        <a:lstStyle/>
        <a:p>
          <a:endParaRPr lang="en-US" sz="2000"/>
        </a:p>
      </dgm:t>
    </dgm:pt>
    <dgm:pt modelId="{894B1C26-EDEC-43D0-8EAD-929155809293}" type="sibTrans" cxnId="{F8E25814-6E86-4B49-8173-78EE35E8B259}">
      <dgm:prSet/>
      <dgm:spPr/>
      <dgm:t>
        <a:bodyPr/>
        <a:lstStyle/>
        <a:p>
          <a:endParaRPr lang="en-US" sz="2000"/>
        </a:p>
      </dgm:t>
    </dgm:pt>
    <dgm:pt modelId="{77DF58F8-0D94-4B12-ADE9-2B5AFCEB4CE0}">
      <dgm:prSet custT="1"/>
      <dgm:spPr/>
      <dgm:t>
        <a:bodyPr/>
        <a:lstStyle/>
        <a:p>
          <a:r>
            <a:rPr lang="en-US" sz="2000"/>
            <a:t>Code </a:t>
          </a:r>
          <a:r>
            <a:rPr lang="en-US" sz="2000" b="1"/>
            <a:t>unable</a:t>
          </a:r>
          <a:r>
            <a:rPr lang="en-US" sz="2000"/>
            <a:t> to execute</a:t>
          </a:r>
        </a:p>
      </dgm:t>
    </dgm:pt>
    <dgm:pt modelId="{28581263-B85D-4E82-9100-64C383DD29E6}" type="parTrans" cxnId="{3CE41112-9F45-4C16-B280-1FBFA42EE647}">
      <dgm:prSet/>
      <dgm:spPr/>
      <dgm:t>
        <a:bodyPr/>
        <a:lstStyle/>
        <a:p>
          <a:endParaRPr lang="en-US" sz="2000"/>
        </a:p>
      </dgm:t>
    </dgm:pt>
    <dgm:pt modelId="{340BC9A8-950D-415C-845B-11F9F6C1AF6E}" type="sibTrans" cxnId="{3CE41112-9F45-4C16-B280-1FBFA42EE647}">
      <dgm:prSet/>
      <dgm:spPr/>
      <dgm:t>
        <a:bodyPr/>
        <a:lstStyle/>
        <a:p>
          <a:endParaRPr lang="en-US" sz="2000"/>
        </a:p>
      </dgm:t>
    </dgm:pt>
    <dgm:pt modelId="{5D0FBEF5-2806-4BBD-8592-70D43A3F9C38}" type="pres">
      <dgm:prSet presAssocID="{47368D0B-0430-4A91-94E1-D0097F6BB4FA}" presName="linear" presStyleCnt="0">
        <dgm:presLayoutVars>
          <dgm:animLvl val="lvl"/>
          <dgm:resizeHandles val="exact"/>
        </dgm:presLayoutVars>
      </dgm:prSet>
      <dgm:spPr/>
    </dgm:pt>
    <dgm:pt modelId="{9293F5D5-11A7-4EBD-AB2A-32B587777418}" type="pres">
      <dgm:prSet presAssocID="{017CA063-7EEA-489C-87A9-E2147DD0A5AD}" presName="parentText" presStyleLbl="node1" presStyleIdx="0" presStyleCnt="2">
        <dgm:presLayoutVars>
          <dgm:chMax val="0"/>
          <dgm:bulletEnabled val="1"/>
        </dgm:presLayoutVars>
      </dgm:prSet>
      <dgm:spPr/>
    </dgm:pt>
    <dgm:pt modelId="{7AF8DD4D-1DF9-4453-B18B-6722014DB2E3}" type="pres">
      <dgm:prSet presAssocID="{017CA063-7EEA-489C-87A9-E2147DD0A5AD}" presName="childText" presStyleLbl="revTx" presStyleIdx="0" presStyleCnt="2">
        <dgm:presLayoutVars>
          <dgm:bulletEnabled val="1"/>
        </dgm:presLayoutVars>
      </dgm:prSet>
      <dgm:spPr/>
    </dgm:pt>
    <dgm:pt modelId="{4629E081-81D2-4582-A2BA-742FDD6A68FE}" type="pres">
      <dgm:prSet presAssocID="{3A25F396-3993-40C8-ACE1-6100753554C6}" presName="parentText" presStyleLbl="node1" presStyleIdx="1" presStyleCnt="2">
        <dgm:presLayoutVars>
          <dgm:chMax val="0"/>
          <dgm:bulletEnabled val="1"/>
        </dgm:presLayoutVars>
      </dgm:prSet>
      <dgm:spPr/>
    </dgm:pt>
    <dgm:pt modelId="{00CCB998-6F0D-472D-B2FF-CA60FBDBEED4}" type="pres">
      <dgm:prSet presAssocID="{3A25F396-3993-40C8-ACE1-6100753554C6}" presName="childText" presStyleLbl="revTx" presStyleIdx="1" presStyleCnt="2">
        <dgm:presLayoutVars>
          <dgm:bulletEnabled val="1"/>
        </dgm:presLayoutVars>
      </dgm:prSet>
      <dgm:spPr/>
    </dgm:pt>
  </dgm:ptLst>
  <dgm:cxnLst>
    <dgm:cxn modelId="{6E60D902-86B5-4637-BC5E-57D40D220CD4}" type="presOf" srcId="{0BD53B49-DD7F-43BD-B0E1-DDF09272EA77}" destId="{00CCB998-6F0D-472D-B2FF-CA60FBDBEED4}" srcOrd="0" destOrd="1" presId="urn:microsoft.com/office/officeart/2005/8/layout/vList2"/>
    <dgm:cxn modelId="{A016E30E-1A39-474E-BF9E-0FDBB3C1C509}" srcId="{3A25F396-3993-40C8-ACE1-6100753554C6}" destId="{DFC8C568-FF11-4699-AEFE-46FE489A4FFE}" srcOrd="0" destOrd="0" parTransId="{A1488A11-3EB0-43EC-ADD8-CE32EAC799D1}" sibTransId="{627EABCD-1292-4970-B9FF-F0B08E5E2061}"/>
    <dgm:cxn modelId="{DAF8930F-FF4E-4B1C-A9F9-573EB0AEE6EF}" type="presOf" srcId="{3A25F396-3993-40C8-ACE1-6100753554C6}" destId="{4629E081-81D2-4582-A2BA-742FDD6A68FE}" srcOrd="0" destOrd="0" presId="urn:microsoft.com/office/officeart/2005/8/layout/vList2"/>
    <dgm:cxn modelId="{3CE41112-9F45-4C16-B280-1FBFA42EE647}" srcId="{017CA063-7EEA-489C-87A9-E2147DD0A5AD}" destId="{77DF58F8-0D94-4B12-ADE9-2B5AFCEB4CE0}" srcOrd="2" destOrd="0" parTransId="{28581263-B85D-4E82-9100-64C383DD29E6}" sibTransId="{340BC9A8-950D-415C-845B-11F9F6C1AF6E}"/>
    <dgm:cxn modelId="{F8E25814-6E86-4B49-8173-78EE35E8B259}" srcId="{3A25F396-3993-40C8-ACE1-6100753554C6}" destId="{0BD53B49-DD7F-43BD-B0E1-DDF09272EA77}" srcOrd="1" destOrd="0" parTransId="{81B23A5F-4DC2-4C73-9FB9-25528BD723EB}" sibTransId="{894B1C26-EDEC-43D0-8EAD-929155809293}"/>
    <dgm:cxn modelId="{F624C217-05A1-4F48-9B8B-AB2FCD648681}" type="presOf" srcId="{DFC8C568-FF11-4699-AEFE-46FE489A4FFE}" destId="{00CCB998-6F0D-472D-B2FF-CA60FBDBEED4}" srcOrd="0" destOrd="0" presId="urn:microsoft.com/office/officeart/2005/8/layout/vList2"/>
    <dgm:cxn modelId="{4DE00232-B8B9-4984-BD9A-3698BEE6BB6C}" type="presOf" srcId="{47368D0B-0430-4A91-94E1-D0097F6BB4FA}" destId="{5D0FBEF5-2806-4BBD-8592-70D43A3F9C38}" srcOrd="0" destOrd="0" presId="urn:microsoft.com/office/officeart/2005/8/layout/vList2"/>
    <dgm:cxn modelId="{DFB09E5C-9098-489B-85DE-340D5881E010}" srcId="{017CA063-7EEA-489C-87A9-E2147DD0A5AD}" destId="{BED28A7B-CE49-4B51-AE67-1409A51D7BBE}" srcOrd="1" destOrd="0" parTransId="{A7F1BCD9-5A72-49BE-8B7F-2C6BC8D9CFB3}" sibTransId="{25FE0145-3307-41D1-96F1-AFEFB0FE9519}"/>
    <dgm:cxn modelId="{27388B70-3F24-45ED-AE22-CF9A1F9E0AC5}" srcId="{47368D0B-0430-4A91-94E1-D0097F6BB4FA}" destId="{017CA063-7EEA-489C-87A9-E2147DD0A5AD}" srcOrd="0" destOrd="0" parTransId="{E0B8EF2F-113F-4507-B8FC-3374D37646B0}" sibTransId="{BD1C0346-86D3-4E46-82D3-0636A98D6820}"/>
    <dgm:cxn modelId="{D2B4D572-90B9-481C-A18A-35BF752D6DB7}" type="presOf" srcId="{77DF58F8-0D94-4B12-ADE9-2B5AFCEB4CE0}" destId="{7AF8DD4D-1DF9-4453-B18B-6722014DB2E3}" srcOrd="0" destOrd="2" presId="urn:microsoft.com/office/officeart/2005/8/layout/vList2"/>
    <dgm:cxn modelId="{17A77953-972E-46FE-AA6C-B187E764CB5C}" type="presOf" srcId="{017CA063-7EEA-489C-87A9-E2147DD0A5AD}" destId="{9293F5D5-11A7-4EBD-AB2A-32B587777418}" srcOrd="0" destOrd="0" presId="urn:microsoft.com/office/officeart/2005/8/layout/vList2"/>
    <dgm:cxn modelId="{F94B348C-2A7F-4CE8-987A-EE93FF9AB83D}" type="presOf" srcId="{BED28A7B-CE49-4B51-AE67-1409A51D7BBE}" destId="{7AF8DD4D-1DF9-4453-B18B-6722014DB2E3}" srcOrd="0" destOrd="1" presId="urn:microsoft.com/office/officeart/2005/8/layout/vList2"/>
    <dgm:cxn modelId="{B0D103B2-7607-4880-AF30-065C2C18CF0D}" srcId="{47368D0B-0430-4A91-94E1-D0097F6BB4FA}" destId="{3A25F396-3993-40C8-ACE1-6100753554C6}" srcOrd="1" destOrd="0" parTransId="{9F443CF8-BAD5-4D7B-8C3F-00C5B2AE8846}" sibTransId="{E68B217B-2C11-448A-B532-3BDBE2C3ACEB}"/>
    <dgm:cxn modelId="{F33CB2CA-1AB6-4B41-ACEC-70149B37A6CC}" srcId="{017CA063-7EEA-489C-87A9-E2147DD0A5AD}" destId="{1635F56D-E788-4300-B08E-66F105414E60}" srcOrd="0" destOrd="0" parTransId="{58E16C08-E058-4264-A239-B00ACBD2A41C}" sibTransId="{993EC587-4929-4010-A6BE-20373D4ABDAE}"/>
    <dgm:cxn modelId="{F6091CF9-C0FC-4961-B6E5-CF2B94195DFF}" type="presOf" srcId="{1635F56D-E788-4300-B08E-66F105414E60}" destId="{7AF8DD4D-1DF9-4453-B18B-6722014DB2E3}" srcOrd="0" destOrd="0" presId="urn:microsoft.com/office/officeart/2005/8/layout/vList2"/>
    <dgm:cxn modelId="{CE8DE011-4D95-4CED-B8BF-21A4AA9EFACC}" type="presParOf" srcId="{5D0FBEF5-2806-4BBD-8592-70D43A3F9C38}" destId="{9293F5D5-11A7-4EBD-AB2A-32B587777418}" srcOrd="0" destOrd="0" presId="urn:microsoft.com/office/officeart/2005/8/layout/vList2"/>
    <dgm:cxn modelId="{BCE0030B-76CB-4362-BFEF-82F3E4A9FDB6}" type="presParOf" srcId="{5D0FBEF5-2806-4BBD-8592-70D43A3F9C38}" destId="{7AF8DD4D-1DF9-4453-B18B-6722014DB2E3}" srcOrd="1" destOrd="0" presId="urn:microsoft.com/office/officeart/2005/8/layout/vList2"/>
    <dgm:cxn modelId="{358CCA27-3159-4350-8C0B-2312AE446DB4}" type="presParOf" srcId="{5D0FBEF5-2806-4BBD-8592-70D43A3F9C38}" destId="{4629E081-81D2-4582-A2BA-742FDD6A68FE}" srcOrd="2" destOrd="0" presId="urn:microsoft.com/office/officeart/2005/8/layout/vList2"/>
    <dgm:cxn modelId="{61ED4EDB-E438-4113-870A-A85B29AA8B7D}" type="presParOf" srcId="{5D0FBEF5-2806-4BBD-8592-70D43A3F9C38}" destId="{00CCB998-6F0D-472D-B2FF-CA60FBDBEED4}" srcOrd="3"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7368D0B-0430-4A91-94E1-D0097F6BB4F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70384DAB-A935-40DF-B270-46CCCB8C061A}">
      <dgm:prSet custT="1">
        <dgm:style>
          <a:lnRef idx="1">
            <a:schemeClr val="accent5"/>
          </a:lnRef>
          <a:fillRef idx="2">
            <a:schemeClr val="accent5"/>
          </a:fillRef>
          <a:effectRef idx="1">
            <a:schemeClr val="accent5"/>
          </a:effectRef>
          <a:fontRef idx="minor">
            <a:schemeClr val="dk1"/>
          </a:fontRef>
        </dgm:style>
      </dgm:prSet>
      <dgm:spPr>
        <a:solidFill>
          <a:srgbClr val="002060"/>
        </a:solidFill>
        <a:ln/>
      </dgm:spPr>
      <dgm:t>
        <a:bodyPr/>
        <a:lstStyle/>
        <a:p>
          <a:r>
            <a:rPr lang="en-US" sz="2000" b="1">
              <a:solidFill>
                <a:schemeClr val="bg1"/>
              </a:solidFill>
            </a:rPr>
            <a:t>Terminating</a:t>
          </a:r>
        </a:p>
      </dgm:t>
    </dgm:pt>
    <dgm:pt modelId="{C6C2C04D-DAFC-45F4-8786-BA0F4ECD7E45}" type="parTrans" cxnId="{0233E359-9396-4B0F-84E5-3E6D5511F831}">
      <dgm:prSet/>
      <dgm:spPr/>
      <dgm:t>
        <a:bodyPr/>
        <a:lstStyle/>
        <a:p>
          <a:endParaRPr lang="en-US" sz="2000"/>
        </a:p>
      </dgm:t>
    </dgm:pt>
    <dgm:pt modelId="{E6F2C668-DF59-4A07-B127-86B345020ABF}" type="sibTrans" cxnId="{0233E359-9396-4B0F-84E5-3E6D5511F831}">
      <dgm:prSet/>
      <dgm:spPr/>
      <dgm:t>
        <a:bodyPr/>
        <a:lstStyle/>
        <a:p>
          <a:endParaRPr lang="en-US" sz="2000"/>
        </a:p>
      </dgm:t>
    </dgm:pt>
    <dgm:pt modelId="{DF744D0F-306D-4F4A-8639-D0869249AF71}">
      <dgm:prSet custT="1"/>
      <dgm:spPr/>
      <dgm:t>
        <a:bodyPr/>
        <a:lstStyle/>
        <a:p>
          <a:r>
            <a:rPr lang="en-US" sz="2000"/>
            <a:t>Code statement </a:t>
          </a:r>
          <a:r>
            <a:rPr lang="en-US" sz="2000" b="0"/>
            <a:t>immediately </a:t>
          </a:r>
          <a:r>
            <a:rPr lang="en-US" sz="2000" b="1"/>
            <a:t>stops</a:t>
          </a:r>
        </a:p>
      </dgm:t>
    </dgm:pt>
    <dgm:pt modelId="{5E668CAE-54BF-45E4-B137-0EC033D19DAA}" type="parTrans" cxnId="{A6BE3C04-6693-4D44-A499-9BD996BFD395}">
      <dgm:prSet/>
      <dgm:spPr/>
      <dgm:t>
        <a:bodyPr/>
        <a:lstStyle/>
        <a:p>
          <a:endParaRPr lang="en-US" sz="2000"/>
        </a:p>
      </dgm:t>
    </dgm:pt>
    <dgm:pt modelId="{62FE0FC5-7600-47EC-A8C9-D3CFBC2D0B0E}" type="sibTrans" cxnId="{A6BE3C04-6693-4D44-A499-9BD996BFD395}">
      <dgm:prSet/>
      <dgm:spPr/>
      <dgm:t>
        <a:bodyPr/>
        <a:lstStyle/>
        <a:p>
          <a:endParaRPr lang="en-US" sz="2000"/>
        </a:p>
      </dgm:t>
    </dgm:pt>
    <dgm:pt modelId="{780B5F9D-2EA8-4921-8760-6EFA32BEF820}">
      <dgm:prSet custT="1">
        <dgm:style>
          <a:lnRef idx="1">
            <a:schemeClr val="accent5"/>
          </a:lnRef>
          <a:fillRef idx="2">
            <a:schemeClr val="accent5"/>
          </a:fillRef>
          <a:effectRef idx="1">
            <a:schemeClr val="accent5"/>
          </a:effectRef>
          <a:fontRef idx="minor">
            <a:schemeClr val="dk1"/>
          </a:fontRef>
        </dgm:style>
      </dgm:prSet>
      <dgm:spPr>
        <a:solidFill>
          <a:srgbClr val="002060"/>
        </a:solidFill>
        <a:ln/>
      </dgm:spPr>
      <dgm:t>
        <a:bodyPr/>
        <a:lstStyle/>
        <a:p>
          <a:r>
            <a:rPr lang="en-US" sz="2000" b="1">
              <a:solidFill>
                <a:schemeClr val="bg1"/>
              </a:solidFill>
            </a:rPr>
            <a:t>Non-Terminating</a:t>
          </a:r>
        </a:p>
      </dgm:t>
    </dgm:pt>
    <dgm:pt modelId="{D5DE806A-ED2B-4D26-813F-E2B3CA261BBB}" type="parTrans" cxnId="{266E9945-EA89-4BB8-95F3-BA8623094CF7}">
      <dgm:prSet/>
      <dgm:spPr/>
      <dgm:t>
        <a:bodyPr/>
        <a:lstStyle/>
        <a:p>
          <a:endParaRPr lang="en-US" sz="2000"/>
        </a:p>
      </dgm:t>
    </dgm:pt>
    <dgm:pt modelId="{ADBC7F68-939D-4935-831A-E1C724BA27EC}" type="sibTrans" cxnId="{266E9945-EA89-4BB8-95F3-BA8623094CF7}">
      <dgm:prSet/>
      <dgm:spPr/>
      <dgm:t>
        <a:bodyPr/>
        <a:lstStyle/>
        <a:p>
          <a:endParaRPr lang="en-US" sz="2000"/>
        </a:p>
      </dgm:t>
    </dgm:pt>
    <dgm:pt modelId="{ABAE8EAC-BF61-4FDB-A456-7F3A0D3F9C4A}">
      <dgm:prSet custT="1"/>
      <dgm:spPr/>
      <dgm:t>
        <a:bodyPr/>
        <a:lstStyle/>
        <a:p>
          <a:r>
            <a:rPr lang="en-US" sz="2000"/>
            <a:t>Code execution will </a:t>
          </a:r>
          <a:r>
            <a:rPr lang="en-US" sz="2000" b="1"/>
            <a:t>continue</a:t>
          </a:r>
          <a:endParaRPr lang="en-US" sz="2000"/>
        </a:p>
      </dgm:t>
    </dgm:pt>
    <dgm:pt modelId="{6C33A3F2-F36C-499F-A690-D2879FDB2A51}" type="parTrans" cxnId="{C1D03E43-4B49-4229-8A1E-650A72BD2B85}">
      <dgm:prSet/>
      <dgm:spPr/>
      <dgm:t>
        <a:bodyPr/>
        <a:lstStyle/>
        <a:p>
          <a:endParaRPr lang="en-US" sz="2000"/>
        </a:p>
      </dgm:t>
    </dgm:pt>
    <dgm:pt modelId="{C52CB6A7-D968-45B1-826C-29658AAE76BD}" type="sibTrans" cxnId="{C1D03E43-4B49-4229-8A1E-650A72BD2B85}">
      <dgm:prSet/>
      <dgm:spPr/>
      <dgm:t>
        <a:bodyPr/>
        <a:lstStyle/>
        <a:p>
          <a:endParaRPr lang="en-US" sz="2000"/>
        </a:p>
      </dgm:t>
    </dgm:pt>
    <dgm:pt modelId="{F854E42A-3124-445E-8979-06FEC4DEEBC2}">
      <dgm:prSet custT="1"/>
      <dgm:spPr/>
      <dgm:t>
        <a:bodyPr/>
        <a:lstStyle/>
        <a:p>
          <a:r>
            <a:rPr lang="en-US" sz="2000"/>
            <a:t>Can optionally be </a:t>
          </a:r>
          <a:r>
            <a:rPr lang="en-US" sz="2000" b="1"/>
            <a:t>converted</a:t>
          </a:r>
          <a:r>
            <a:rPr lang="en-US" sz="2000"/>
            <a:t> to terminating error</a:t>
          </a:r>
          <a:endParaRPr lang="en-US" sz="2000" b="1"/>
        </a:p>
      </dgm:t>
    </dgm:pt>
    <dgm:pt modelId="{2C67C1D8-7748-4056-8ABF-CB58BF0D2016}" type="parTrans" cxnId="{B72C6784-D212-45CF-B440-EEE1DE0FCACD}">
      <dgm:prSet/>
      <dgm:spPr/>
      <dgm:t>
        <a:bodyPr/>
        <a:lstStyle/>
        <a:p>
          <a:endParaRPr lang="en-US" sz="2000"/>
        </a:p>
      </dgm:t>
    </dgm:pt>
    <dgm:pt modelId="{EF9C1FAB-9CA5-47A1-BA4B-C855ECE2A460}" type="sibTrans" cxnId="{B72C6784-D212-45CF-B440-EEE1DE0FCACD}">
      <dgm:prSet/>
      <dgm:spPr/>
      <dgm:t>
        <a:bodyPr/>
        <a:lstStyle/>
        <a:p>
          <a:endParaRPr lang="en-US" sz="2000"/>
        </a:p>
      </dgm:t>
    </dgm:pt>
    <dgm:pt modelId="{86C9A9DE-A629-4051-80E7-6A14F0365800}">
      <dgm:prSet custT="1"/>
      <dgm:spPr/>
      <dgm:t>
        <a:bodyPr/>
        <a:lstStyle/>
        <a:p>
          <a:r>
            <a:rPr lang="en-US" sz="2000"/>
            <a:t>Will stop function or script if </a:t>
          </a:r>
          <a:r>
            <a:rPr lang="en-US" sz="2000" b="1"/>
            <a:t>not</a:t>
          </a:r>
          <a:r>
            <a:rPr lang="en-US" sz="2000"/>
            <a:t> handled</a:t>
          </a:r>
        </a:p>
      </dgm:t>
    </dgm:pt>
    <dgm:pt modelId="{A82F379E-D306-44CA-8C80-3DAF6F92FA7C}" type="parTrans" cxnId="{4B6E77BD-80AA-4B32-B463-09CB88D4EC14}">
      <dgm:prSet/>
      <dgm:spPr/>
      <dgm:t>
        <a:bodyPr/>
        <a:lstStyle/>
        <a:p>
          <a:endParaRPr lang="en-US" sz="2000"/>
        </a:p>
      </dgm:t>
    </dgm:pt>
    <dgm:pt modelId="{F2D08B29-119F-4521-A684-2674AFE027B3}" type="sibTrans" cxnId="{4B6E77BD-80AA-4B32-B463-09CB88D4EC14}">
      <dgm:prSet/>
      <dgm:spPr/>
      <dgm:t>
        <a:bodyPr/>
        <a:lstStyle/>
        <a:p>
          <a:endParaRPr lang="en-US" sz="2000"/>
        </a:p>
      </dgm:t>
    </dgm:pt>
    <dgm:pt modelId="{0D8707D8-5AB2-4207-BF21-0876A2E7867A}">
      <dgm:prSet custT="1"/>
      <dgm:spPr/>
      <dgm:t>
        <a:bodyPr/>
        <a:lstStyle/>
        <a:p>
          <a:r>
            <a:rPr lang="en-US" sz="2000" b="1"/>
            <a:t>Less severe </a:t>
          </a:r>
          <a:r>
            <a:rPr lang="en-US" sz="2000"/>
            <a:t>than terminating error</a:t>
          </a:r>
        </a:p>
      </dgm:t>
    </dgm:pt>
    <dgm:pt modelId="{5EACD21A-1896-4AD6-B59A-035B2253C2FF}" type="parTrans" cxnId="{242E0CD2-74DC-4EC1-9613-455F8AE4A65A}">
      <dgm:prSet/>
      <dgm:spPr/>
      <dgm:t>
        <a:bodyPr/>
        <a:lstStyle/>
        <a:p>
          <a:endParaRPr lang="en-US"/>
        </a:p>
      </dgm:t>
    </dgm:pt>
    <dgm:pt modelId="{934EC2F3-9890-4F60-9AE3-BF584589A488}" type="sibTrans" cxnId="{242E0CD2-74DC-4EC1-9613-455F8AE4A65A}">
      <dgm:prSet/>
      <dgm:spPr/>
      <dgm:t>
        <a:bodyPr/>
        <a:lstStyle/>
        <a:p>
          <a:endParaRPr lang="en-US"/>
        </a:p>
      </dgm:t>
    </dgm:pt>
    <dgm:pt modelId="{A473362D-2700-45F3-B9B7-1FCCBB506459}" type="pres">
      <dgm:prSet presAssocID="{47368D0B-0430-4A91-94E1-D0097F6BB4FA}" presName="Name0" presStyleCnt="0">
        <dgm:presLayoutVars>
          <dgm:dir/>
          <dgm:animLvl val="lvl"/>
          <dgm:resizeHandles val="exact"/>
        </dgm:presLayoutVars>
      </dgm:prSet>
      <dgm:spPr/>
    </dgm:pt>
    <dgm:pt modelId="{192E81C0-4783-438E-955A-581A5010D06C}" type="pres">
      <dgm:prSet presAssocID="{70384DAB-A935-40DF-B270-46CCCB8C061A}" presName="composite" presStyleCnt="0"/>
      <dgm:spPr/>
    </dgm:pt>
    <dgm:pt modelId="{A667F799-072F-432D-A7ED-8786A4C78392}" type="pres">
      <dgm:prSet presAssocID="{70384DAB-A935-40DF-B270-46CCCB8C061A}" presName="parTx" presStyleLbl="alignNode1" presStyleIdx="0" presStyleCnt="2">
        <dgm:presLayoutVars>
          <dgm:chMax val="0"/>
          <dgm:chPref val="0"/>
          <dgm:bulletEnabled val="1"/>
        </dgm:presLayoutVars>
      </dgm:prSet>
      <dgm:spPr/>
    </dgm:pt>
    <dgm:pt modelId="{EC4B44A9-1773-4A6F-AE30-483C293FC892}" type="pres">
      <dgm:prSet presAssocID="{70384DAB-A935-40DF-B270-46CCCB8C061A}" presName="desTx" presStyleLbl="alignAccFollowNode1" presStyleIdx="0" presStyleCnt="2">
        <dgm:presLayoutVars>
          <dgm:bulletEnabled val="1"/>
        </dgm:presLayoutVars>
      </dgm:prSet>
      <dgm:spPr/>
    </dgm:pt>
    <dgm:pt modelId="{DF2038CC-0729-4A65-BA10-A01D3F340757}" type="pres">
      <dgm:prSet presAssocID="{E6F2C668-DF59-4A07-B127-86B345020ABF}" presName="space" presStyleCnt="0"/>
      <dgm:spPr/>
    </dgm:pt>
    <dgm:pt modelId="{D06FA099-4EC6-4490-B882-D87EBA0E531E}" type="pres">
      <dgm:prSet presAssocID="{780B5F9D-2EA8-4921-8760-6EFA32BEF820}" presName="composite" presStyleCnt="0"/>
      <dgm:spPr/>
    </dgm:pt>
    <dgm:pt modelId="{2064B70A-8AE3-4703-A83F-4DE4FA2B7A38}" type="pres">
      <dgm:prSet presAssocID="{780B5F9D-2EA8-4921-8760-6EFA32BEF820}" presName="parTx" presStyleLbl="alignNode1" presStyleIdx="1" presStyleCnt="2">
        <dgm:presLayoutVars>
          <dgm:chMax val="0"/>
          <dgm:chPref val="0"/>
          <dgm:bulletEnabled val="1"/>
        </dgm:presLayoutVars>
      </dgm:prSet>
      <dgm:spPr/>
    </dgm:pt>
    <dgm:pt modelId="{C97B27C3-3A2A-4C81-9FAA-BB9F35E9D353}" type="pres">
      <dgm:prSet presAssocID="{780B5F9D-2EA8-4921-8760-6EFA32BEF820}" presName="desTx" presStyleLbl="alignAccFollowNode1" presStyleIdx="1" presStyleCnt="2">
        <dgm:presLayoutVars>
          <dgm:bulletEnabled val="1"/>
        </dgm:presLayoutVars>
      </dgm:prSet>
      <dgm:spPr/>
    </dgm:pt>
  </dgm:ptLst>
  <dgm:cxnLst>
    <dgm:cxn modelId="{A6BE3C04-6693-4D44-A499-9BD996BFD395}" srcId="{70384DAB-A935-40DF-B270-46CCCB8C061A}" destId="{DF744D0F-306D-4F4A-8639-D0869249AF71}" srcOrd="0" destOrd="0" parTransId="{5E668CAE-54BF-45E4-B137-0EC033D19DAA}" sibTransId="{62FE0FC5-7600-47EC-A8C9-D3CFBC2D0B0E}"/>
    <dgm:cxn modelId="{FA1E5D26-5089-4271-9A05-4603DFDE7061}" type="presOf" srcId="{47368D0B-0430-4A91-94E1-D0097F6BB4FA}" destId="{A473362D-2700-45F3-B9B7-1FCCBB506459}" srcOrd="0" destOrd="0" presId="urn:microsoft.com/office/officeart/2005/8/layout/hList1"/>
    <dgm:cxn modelId="{B9CDC42F-8BD8-42F6-895A-4F8B96C0D80B}" type="presOf" srcId="{DF744D0F-306D-4F4A-8639-D0869249AF71}" destId="{EC4B44A9-1773-4A6F-AE30-483C293FC892}" srcOrd="0" destOrd="0" presId="urn:microsoft.com/office/officeart/2005/8/layout/hList1"/>
    <dgm:cxn modelId="{AD5CEE30-3ED9-477E-8C97-391F4A41A049}" type="presOf" srcId="{ABAE8EAC-BF61-4FDB-A456-7F3A0D3F9C4A}" destId="{C97B27C3-3A2A-4C81-9FAA-BB9F35E9D353}" srcOrd="0" destOrd="0" presId="urn:microsoft.com/office/officeart/2005/8/layout/hList1"/>
    <dgm:cxn modelId="{6D1ABE34-4663-4D9E-AAD8-7DB02869EEF1}" type="presOf" srcId="{70384DAB-A935-40DF-B270-46CCCB8C061A}" destId="{A667F799-072F-432D-A7ED-8786A4C78392}" srcOrd="0" destOrd="0" presId="urn:microsoft.com/office/officeart/2005/8/layout/hList1"/>
    <dgm:cxn modelId="{C1D03E43-4B49-4229-8A1E-650A72BD2B85}" srcId="{780B5F9D-2EA8-4921-8760-6EFA32BEF820}" destId="{ABAE8EAC-BF61-4FDB-A456-7F3A0D3F9C4A}" srcOrd="0" destOrd="0" parTransId="{6C33A3F2-F36C-499F-A690-D2879FDB2A51}" sibTransId="{C52CB6A7-D968-45B1-826C-29658AAE76BD}"/>
    <dgm:cxn modelId="{266E9945-EA89-4BB8-95F3-BA8623094CF7}" srcId="{47368D0B-0430-4A91-94E1-D0097F6BB4FA}" destId="{780B5F9D-2EA8-4921-8760-6EFA32BEF820}" srcOrd="1" destOrd="0" parTransId="{D5DE806A-ED2B-4D26-813F-E2B3CA261BBB}" sibTransId="{ADBC7F68-939D-4935-831A-E1C724BA27EC}"/>
    <dgm:cxn modelId="{1FC69E66-6209-4F97-9CE5-BD794A4C32EB}" type="presOf" srcId="{F854E42A-3124-445E-8979-06FEC4DEEBC2}" destId="{C97B27C3-3A2A-4C81-9FAA-BB9F35E9D353}" srcOrd="0" destOrd="2" presId="urn:microsoft.com/office/officeart/2005/8/layout/hList1"/>
    <dgm:cxn modelId="{4AF5D859-347B-4BE3-B9D8-0BD05C8CAFC3}" type="presOf" srcId="{0D8707D8-5AB2-4207-BF21-0876A2E7867A}" destId="{C97B27C3-3A2A-4C81-9FAA-BB9F35E9D353}" srcOrd="0" destOrd="1" presId="urn:microsoft.com/office/officeart/2005/8/layout/hList1"/>
    <dgm:cxn modelId="{0233E359-9396-4B0F-84E5-3E6D5511F831}" srcId="{47368D0B-0430-4A91-94E1-D0097F6BB4FA}" destId="{70384DAB-A935-40DF-B270-46CCCB8C061A}" srcOrd="0" destOrd="0" parTransId="{C6C2C04D-DAFC-45F4-8786-BA0F4ECD7E45}" sibTransId="{E6F2C668-DF59-4A07-B127-86B345020ABF}"/>
    <dgm:cxn modelId="{B72C6784-D212-45CF-B440-EEE1DE0FCACD}" srcId="{780B5F9D-2EA8-4921-8760-6EFA32BEF820}" destId="{F854E42A-3124-445E-8979-06FEC4DEEBC2}" srcOrd="2" destOrd="0" parTransId="{2C67C1D8-7748-4056-8ABF-CB58BF0D2016}" sibTransId="{EF9C1FAB-9CA5-47A1-BA4B-C855ECE2A460}"/>
    <dgm:cxn modelId="{4B6E77BD-80AA-4B32-B463-09CB88D4EC14}" srcId="{70384DAB-A935-40DF-B270-46CCCB8C061A}" destId="{86C9A9DE-A629-4051-80E7-6A14F0365800}" srcOrd="1" destOrd="0" parTransId="{A82F379E-D306-44CA-8C80-3DAF6F92FA7C}" sibTransId="{F2D08B29-119F-4521-A684-2674AFE027B3}"/>
    <dgm:cxn modelId="{93C9DEBD-D753-41F8-9F8D-A31075918E3A}" type="presOf" srcId="{86C9A9DE-A629-4051-80E7-6A14F0365800}" destId="{EC4B44A9-1773-4A6F-AE30-483C293FC892}" srcOrd="0" destOrd="1" presId="urn:microsoft.com/office/officeart/2005/8/layout/hList1"/>
    <dgm:cxn modelId="{E3A0D7C5-7DFC-4D7C-94AF-7A382AFCA9A0}" type="presOf" srcId="{780B5F9D-2EA8-4921-8760-6EFA32BEF820}" destId="{2064B70A-8AE3-4703-A83F-4DE4FA2B7A38}" srcOrd="0" destOrd="0" presId="urn:microsoft.com/office/officeart/2005/8/layout/hList1"/>
    <dgm:cxn modelId="{242E0CD2-74DC-4EC1-9613-455F8AE4A65A}" srcId="{780B5F9D-2EA8-4921-8760-6EFA32BEF820}" destId="{0D8707D8-5AB2-4207-BF21-0876A2E7867A}" srcOrd="1" destOrd="0" parTransId="{5EACD21A-1896-4AD6-B59A-035B2253C2FF}" sibTransId="{934EC2F3-9890-4F60-9AE3-BF584589A488}"/>
    <dgm:cxn modelId="{C2A0B1D3-0446-4920-9D4A-DCE41C68DBBB}" type="presParOf" srcId="{A473362D-2700-45F3-B9B7-1FCCBB506459}" destId="{192E81C0-4783-438E-955A-581A5010D06C}" srcOrd="0" destOrd="0" presId="urn:microsoft.com/office/officeart/2005/8/layout/hList1"/>
    <dgm:cxn modelId="{B9B9339E-1A3D-4452-BA83-C7A8ADCEB75A}" type="presParOf" srcId="{192E81C0-4783-438E-955A-581A5010D06C}" destId="{A667F799-072F-432D-A7ED-8786A4C78392}" srcOrd="0" destOrd="0" presId="urn:microsoft.com/office/officeart/2005/8/layout/hList1"/>
    <dgm:cxn modelId="{F22FDD23-4D75-4867-9EA5-D17F7AB33D5C}" type="presParOf" srcId="{192E81C0-4783-438E-955A-581A5010D06C}" destId="{EC4B44A9-1773-4A6F-AE30-483C293FC892}" srcOrd="1" destOrd="0" presId="urn:microsoft.com/office/officeart/2005/8/layout/hList1"/>
    <dgm:cxn modelId="{B74868BC-F338-4ECF-9C10-299288400FFD}" type="presParOf" srcId="{A473362D-2700-45F3-B9B7-1FCCBB506459}" destId="{DF2038CC-0729-4A65-BA10-A01D3F340757}" srcOrd="1" destOrd="0" presId="urn:microsoft.com/office/officeart/2005/8/layout/hList1"/>
    <dgm:cxn modelId="{922C4C6B-5ED5-465F-ACE5-16C7F8656F58}" type="presParOf" srcId="{A473362D-2700-45F3-B9B7-1FCCBB506459}" destId="{D06FA099-4EC6-4490-B882-D87EBA0E531E}" srcOrd="2" destOrd="0" presId="urn:microsoft.com/office/officeart/2005/8/layout/hList1"/>
    <dgm:cxn modelId="{17C3D70F-D7BA-4320-AE18-ADC60F353EA5}" type="presParOf" srcId="{D06FA099-4EC6-4490-B882-D87EBA0E531E}" destId="{2064B70A-8AE3-4703-A83F-4DE4FA2B7A38}" srcOrd="0" destOrd="0" presId="urn:microsoft.com/office/officeart/2005/8/layout/hList1"/>
    <dgm:cxn modelId="{23EBC148-A1F6-4404-8618-26DE6B53DF25}" type="presParOf" srcId="{D06FA099-4EC6-4490-B882-D87EBA0E531E}" destId="{C97B27C3-3A2A-4C81-9FAA-BB9F35E9D353}" srcOrd="1" destOrd="0" presId="urn:microsoft.com/office/officeart/2005/8/layout/hLis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B303D-998E-4447-906B-F5C0EE2573D1}">
      <dsp:nvSpPr>
        <dsp:cNvPr id="0" name=""/>
        <dsp:cNvSpPr/>
      </dsp:nvSpPr>
      <dsp:spPr>
        <a:xfrm>
          <a:off x="5340" y="947570"/>
          <a:ext cx="2476684" cy="170182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Different </a:t>
          </a:r>
          <a:r>
            <a:rPr lang="en-US" sz="2000" b="1" kern="1200"/>
            <a:t>categories</a:t>
          </a:r>
          <a:r>
            <a:rPr lang="en-US" sz="2000" kern="1200"/>
            <a:t> of </a:t>
          </a:r>
          <a:r>
            <a:rPr lang="en-US" sz="2000" b="1" kern="1200"/>
            <a:t>data</a:t>
          </a:r>
          <a:r>
            <a:rPr lang="en-US" sz="2000" kern="1200"/>
            <a:t> are kept </a:t>
          </a:r>
          <a:r>
            <a:rPr lang="en-US" sz="2000" b="1" kern="1200"/>
            <a:t>separate</a:t>
          </a:r>
        </a:p>
      </dsp:txBody>
      <dsp:txXfrm>
        <a:off x="55185" y="997415"/>
        <a:ext cx="2376994" cy="1602132"/>
      </dsp:txXfrm>
    </dsp:sp>
    <dsp:sp modelId="{DEE64E9E-D504-49AE-AAF8-0475A17ADD5D}">
      <dsp:nvSpPr>
        <dsp:cNvPr id="0" name=""/>
        <dsp:cNvSpPr/>
      </dsp:nvSpPr>
      <dsp:spPr>
        <a:xfrm>
          <a:off x="253008" y="2649392"/>
          <a:ext cx="247668" cy="440106"/>
        </a:xfrm>
        <a:custGeom>
          <a:avLst/>
          <a:gdLst/>
          <a:ahLst/>
          <a:cxnLst/>
          <a:rect l="0" t="0" r="0" b="0"/>
          <a:pathLst>
            <a:path>
              <a:moveTo>
                <a:pt x="0" y="0"/>
              </a:moveTo>
              <a:lnTo>
                <a:pt x="0" y="440106"/>
              </a:lnTo>
              <a:lnTo>
                <a:pt x="247668" y="44010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9ED4CC-395F-4A2D-A354-D816DFB2EBAE}">
      <dsp:nvSpPr>
        <dsp:cNvPr id="0" name=""/>
        <dsp:cNvSpPr/>
      </dsp:nvSpPr>
      <dsp:spPr>
        <a:xfrm>
          <a:off x="500677" y="2868416"/>
          <a:ext cx="1774168" cy="442165"/>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Error</a:t>
          </a:r>
        </a:p>
      </dsp:txBody>
      <dsp:txXfrm>
        <a:off x="513628" y="2881367"/>
        <a:ext cx="1748266" cy="416263"/>
      </dsp:txXfrm>
    </dsp:sp>
    <dsp:sp modelId="{B222982D-32BD-4A6C-A3E0-6E4E469A0EA5}">
      <dsp:nvSpPr>
        <dsp:cNvPr id="0" name=""/>
        <dsp:cNvSpPr/>
      </dsp:nvSpPr>
      <dsp:spPr>
        <a:xfrm>
          <a:off x="253008" y="2649392"/>
          <a:ext cx="247668" cy="1101294"/>
        </a:xfrm>
        <a:custGeom>
          <a:avLst/>
          <a:gdLst/>
          <a:ahLst/>
          <a:cxnLst/>
          <a:rect l="0" t="0" r="0" b="0"/>
          <a:pathLst>
            <a:path>
              <a:moveTo>
                <a:pt x="0" y="0"/>
              </a:moveTo>
              <a:lnTo>
                <a:pt x="0" y="1101294"/>
              </a:lnTo>
              <a:lnTo>
                <a:pt x="247668" y="110129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606B5D-D902-4946-9B3A-AF7A5477E171}">
      <dsp:nvSpPr>
        <dsp:cNvPr id="0" name=""/>
        <dsp:cNvSpPr/>
      </dsp:nvSpPr>
      <dsp:spPr>
        <a:xfrm>
          <a:off x="500677" y="3529605"/>
          <a:ext cx="1774168" cy="442165"/>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Debug</a:t>
          </a:r>
        </a:p>
      </dsp:txBody>
      <dsp:txXfrm>
        <a:off x="513628" y="3542556"/>
        <a:ext cx="1748266" cy="416263"/>
      </dsp:txXfrm>
    </dsp:sp>
    <dsp:sp modelId="{2E915F7C-67AB-4B18-9847-F97096491EBB}">
      <dsp:nvSpPr>
        <dsp:cNvPr id="0" name=""/>
        <dsp:cNvSpPr/>
      </dsp:nvSpPr>
      <dsp:spPr>
        <a:xfrm>
          <a:off x="253008" y="2649392"/>
          <a:ext cx="247668" cy="1762483"/>
        </a:xfrm>
        <a:custGeom>
          <a:avLst/>
          <a:gdLst/>
          <a:ahLst/>
          <a:cxnLst/>
          <a:rect l="0" t="0" r="0" b="0"/>
          <a:pathLst>
            <a:path>
              <a:moveTo>
                <a:pt x="0" y="0"/>
              </a:moveTo>
              <a:lnTo>
                <a:pt x="0" y="1762483"/>
              </a:lnTo>
              <a:lnTo>
                <a:pt x="247668" y="1762483"/>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5EDA05-5255-44C7-93BE-C96075F64BB8}">
      <dsp:nvSpPr>
        <dsp:cNvPr id="0" name=""/>
        <dsp:cNvSpPr/>
      </dsp:nvSpPr>
      <dsp:spPr>
        <a:xfrm>
          <a:off x="500677" y="4190793"/>
          <a:ext cx="1774168" cy="442165"/>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Output</a:t>
          </a:r>
        </a:p>
      </dsp:txBody>
      <dsp:txXfrm>
        <a:off x="513628" y="4203744"/>
        <a:ext cx="1748266" cy="416263"/>
      </dsp:txXfrm>
    </dsp:sp>
    <dsp:sp modelId="{1EEFDDE0-C09B-409B-8E10-1555A9B2088F}">
      <dsp:nvSpPr>
        <dsp:cNvPr id="0" name=""/>
        <dsp:cNvSpPr/>
      </dsp:nvSpPr>
      <dsp:spPr>
        <a:xfrm>
          <a:off x="2920072" y="947570"/>
          <a:ext cx="2476684" cy="170182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a:t>Write-* </a:t>
          </a:r>
          <a:r>
            <a:rPr lang="en-US" sz="2000" kern="1200"/>
            <a:t>sends object(s) to specific category </a:t>
          </a:r>
          <a:r>
            <a:rPr lang="en-US" sz="2000" b="1" kern="1200"/>
            <a:t>streams</a:t>
          </a:r>
        </a:p>
      </dsp:txBody>
      <dsp:txXfrm>
        <a:off x="2969917" y="997415"/>
        <a:ext cx="2376994" cy="1602132"/>
      </dsp:txXfrm>
    </dsp:sp>
    <dsp:sp modelId="{CD87D47C-456C-418E-BE13-74EE5E9772DB}">
      <dsp:nvSpPr>
        <dsp:cNvPr id="0" name=""/>
        <dsp:cNvSpPr/>
      </dsp:nvSpPr>
      <dsp:spPr>
        <a:xfrm>
          <a:off x="3167741" y="2649392"/>
          <a:ext cx="247668" cy="440106"/>
        </a:xfrm>
        <a:custGeom>
          <a:avLst/>
          <a:gdLst/>
          <a:ahLst/>
          <a:cxnLst/>
          <a:rect l="0" t="0" r="0" b="0"/>
          <a:pathLst>
            <a:path>
              <a:moveTo>
                <a:pt x="0" y="0"/>
              </a:moveTo>
              <a:lnTo>
                <a:pt x="0" y="440106"/>
              </a:lnTo>
              <a:lnTo>
                <a:pt x="247668" y="44010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63B4AB-D058-4F0B-87EA-9C7D32DD27C4}">
      <dsp:nvSpPr>
        <dsp:cNvPr id="0" name=""/>
        <dsp:cNvSpPr/>
      </dsp:nvSpPr>
      <dsp:spPr>
        <a:xfrm>
          <a:off x="3415409" y="2868416"/>
          <a:ext cx="1774168" cy="442165"/>
        </a:xfrm>
        <a:prstGeom prst="roundRect">
          <a:avLst>
            <a:gd name="adj" fmla="val 10000"/>
          </a:avLst>
        </a:prstGeom>
        <a:solidFill>
          <a:schemeClr val="accent5">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Write-Error</a:t>
          </a:r>
        </a:p>
      </dsp:txBody>
      <dsp:txXfrm>
        <a:off x="3428360" y="2881367"/>
        <a:ext cx="1748266" cy="416263"/>
      </dsp:txXfrm>
    </dsp:sp>
    <dsp:sp modelId="{7214BE7B-DEED-4C3B-ADDF-B655E606468C}">
      <dsp:nvSpPr>
        <dsp:cNvPr id="0" name=""/>
        <dsp:cNvSpPr/>
      </dsp:nvSpPr>
      <dsp:spPr>
        <a:xfrm>
          <a:off x="3167741" y="2649392"/>
          <a:ext cx="247668" cy="1101294"/>
        </a:xfrm>
        <a:custGeom>
          <a:avLst/>
          <a:gdLst/>
          <a:ahLst/>
          <a:cxnLst/>
          <a:rect l="0" t="0" r="0" b="0"/>
          <a:pathLst>
            <a:path>
              <a:moveTo>
                <a:pt x="0" y="0"/>
              </a:moveTo>
              <a:lnTo>
                <a:pt x="0" y="1101294"/>
              </a:lnTo>
              <a:lnTo>
                <a:pt x="247668" y="110129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E477C27-2116-404B-BB05-F40D2919158A}">
      <dsp:nvSpPr>
        <dsp:cNvPr id="0" name=""/>
        <dsp:cNvSpPr/>
      </dsp:nvSpPr>
      <dsp:spPr>
        <a:xfrm>
          <a:off x="3415409" y="3529605"/>
          <a:ext cx="1774168" cy="442165"/>
        </a:xfrm>
        <a:prstGeom prst="roundRect">
          <a:avLst>
            <a:gd name="adj" fmla="val 10000"/>
          </a:avLst>
        </a:prstGeom>
        <a:solidFill>
          <a:schemeClr val="accent5">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Write-Debug</a:t>
          </a:r>
        </a:p>
      </dsp:txBody>
      <dsp:txXfrm>
        <a:off x="3428360" y="3542556"/>
        <a:ext cx="1748266" cy="416263"/>
      </dsp:txXfrm>
    </dsp:sp>
    <dsp:sp modelId="{963B1D66-C529-4CCB-AAB2-F0B3D91DBC9B}">
      <dsp:nvSpPr>
        <dsp:cNvPr id="0" name=""/>
        <dsp:cNvSpPr/>
      </dsp:nvSpPr>
      <dsp:spPr>
        <a:xfrm>
          <a:off x="3167741" y="2649392"/>
          <a:ext cx="247668" cy="1762483"/>
        </a:xfrm>
        <a:custGeom>
          <a:avLst/>
          <a:gdLst/>
          <a:ahLst/>
          <a:cxnLst/>
          <a:rect l="0" t="0" r="0" b="0"/>
          <a:pathLst>
            <a:path>
              <a:moveTo>
                <a:pt x="0" y="0"/>
              </a:moveTo>
              <a:lnTo>
                <a:pt x="0" y="1762483"/>
              </a:lnTo>
              <a:lnTo>
                <a:pt x="247668" y="1762483"/>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9804DA-2248-4375-9671-128171021F79}">
      <dsp:nvSpPr>
        <dsp:cNvPr id="0" name=""/>
        <dsp:cNvSpPr/>
      </dsp:nvSpPr>
      <dsp:spPr>
        <a:xfrm>
          <a:off x="3415409" y="4190793"/>
          <a:ext cx="1774168" cy="442165"/>
        </a:xfrm>
        <a:prstGeom prst="roundRect">
          <a:avLst>
            <a:gd name="adj" fmla="val 10000"/>
          </a:avLst>
        </a:prstGeom>
        <a:solidFill>
          <a:schemeClr val="accent5">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Write-Output</a:t>
          </a:r>
        </a:p>
      </dsp:txBody>
      <dsp:txXfrm>
        <a:off x="3428360" y="4203744"/>
        <a:ext cx="1748266" cy="416263"/>
      </dsp:txXfrm>
    </dsp:sp>
    <dsp:sp modelId="{5DDC5760-D608-4655-AE0C-15637AE09BE0}">
      <dsp:nvSpPr>
        <dsp:cNvPr id="0" name=""/>
        <dsp:cNvSpPr/>
      </dsp:nvSpPr>
      <dsp:spPr>
        <a:xfrm>
          <a:off x="5834804" y="947570"/>
          <a:ext cx="2476684" cy="170182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Streams can be </a:t>
          </a:r>
          <a:r>
            <a:rPr lang="en-US" sz="2000" b="1" kern="1200"/>
            <a:t>redirected</a:t>
          </a:r>
          <a:r>
            <a:rPr lang="en-US" sz="2000" kern="1200"/>
            <a:t> to other streams or </a:t>
          </a:r>
          <a:r>
            <a:rPr lang="en-US" sz="2000" b="1" kern="1200"/>
            <a:t>files</a:t>
          </a:r>
          <a:br>
            <a:rPr lang="en-US" sz="2000" kern="1200"/>
          </a:br>
          <a:r>
            <a:rPr lang="en-US" sz="2000" kern="1200"/>
            <a:t>(uncommon)</a:t>
          </a:r>
        </a:p>
      </dsp:txBody>
      <dsp:txXfrm>
        <a:off x="5884649" y="997415"/>
        <a:ext cx="2376994" cy="1602132"/>
      </dsp:txXfrm>
    </dsp:sp>
    <dsp:sp modelId="{0302129F-1D30-4BA0-B682-1C9479B61488}">
      <dsp:nvSpPr>
        <dsp:cNvPr id="0" name=""/>
        <dsp:cNvSpPr/>
      </dsp:nvSpPr>
      <dsp:spPr>
        <a:xfrm>
          <a:off x="6082473" y="2649392"/>
          <a:ext cx="247668" cy="440106"/>
        </a:xfrm>
        <a:custGeom>
          <a:avLst/>
          <a:gdLst/>
          <a:ahLst/>
          <a:cxnLst/>
          <a:rect l="0" t="0" r="0" b="0"/>
          <a:pathLst>
            <a:path>
              <a:moveTo>
                <a:pt x="0" y="0"/>
              </a:moveTo>
              <a:lnTo>
                <a:pt x="0" y="440106"/>
              </a:lnTo>
              <a:lnTo>
                <a:pt x="247668" y="44010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F7475B-53FA-45DE-87D6-F7FD28C95586}">
      <dsp:nvSpPr>
        <dsp:cNvPr id="0" name=""/>
        <dsp:cNvSpPr/>
      </dsp:nvSpPr>
      <dsp:spPr>
        <a:xfrm>
          <a:off x="6330141" y="2868416"/>
          <a:ext cx="1774168" cy="442165"/>
        </a:xfrm>
        <a:prstGeom prst="roundRect">
          <a:avLst>
            <a:gd name="adj" fmla="val 10000"/>
          </a:avLst>
        </a:prstGeom>
        <a:solidFill>
          <a:schemeClr val="accent4">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a:t>&gt;&amp;1</a:t>
          </a:r>
        </a:p>
      </dsp:txBody>
      <dsp:txXfrm>
        <a:off x="6343092" y="2881367"/>
        <a:ext cx="1748266" cy="416263"/>
      </dsp:txXfrm>
    </dsp:sp>
    <dsp:sp modelId="{E0A9251F-4378-452E-886E-13C6CEC4C9DE}">
      <dsp:nvSpPr>
        <dsp:cNvPr id="0" name=""/>
        <dsp:cNvSpPr/>
      </dsp:nvSpPr>
      <dsp:spPr>
        <a:xfrm>
          <a:off x="6082473" y="2649392"/>
          <a:ext cx="247668" cy="1101294"/>
        </a:xfrm>
        <a:custGeom>
          <a:avLst/>
          <a:gdLst/>
          <a:ahLst/>
          <a:cxnLst/>
          <a:rect l="0" t="0" r="0" b="0"/>
          <a:pathLst>
            <a:path>
              <a:moveTo>
                <a:pt x="0" y="0"/>
              </a:moveTo>
              <a:lnTo>
                <a:pt x="0" y="1101294"/>
              </a:lnTo>
              <a:lnTo>
                <a:pt x="247668" y="110129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04E9FD-CB8D-46A4-8C22-D09885575B54}">
      <dsp:nvSpPr>
        <dsp:cNvPr id="0" name=""/>
        <dsp:cNvSpPr/>
      </dsp:nvSpPr>
      <dsp:spPr>
        <a:xfrm>
          <a:off x="6330141" y="3529605"/>
          <a:ext cx="1774168" cy="442165"/>
        </a:xfrm>
        <a:prstGeom prst="roundRect">
          <a:avLst>
            <a:gd name="adj" fmla="val 10000"/>
          </a:avLst>
        </a:prstGeom>
        <a:solidFill>
          <a:schemeClr val="accent4">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a:t>&gt;</a:t>
          </a:r>
        </a:p>
      </dsp:txBody>
      <dsp:txXfrm>
        <a:off x="6343092" y="3542556"/>
        <a:ext cx="1748266" cy="416263"/>
      </dsp:txXfrm>
    </dsp:sp>
    <dsp:sp modelId="{7487FF15-6FA0-4407-A12D-A4719F306A6B}">
      <dsp:nvSpPr>
        <dsp:cNvPr id="0" name=""/>
        <dsp:cNvSpPr/>
      </dsp:nvSpPr>
      <dsp:spPr>
        <a:xfrm>
          <a:off x="6082473" y="2649392"/>
          <a:ext cx="247668" cy="1762483"/>
        </a:xfrm>
        <a:custGeom>
          <a:avLst/>
          <a:gdLst/>
          <a:ahLst/>
          <a:cxnLst/>
          <a:rect l="0" t="0" r="0" b="0"/>
          <a:pathLst>
            <a:path>
              <a:moveTo>
                <a:pt x="0" y="0"/>
              </a:moveTo>
              <a:lnTo>
                <a:pt x="0" y="1762483"/>
              </a:lnTo>
              <a:lnTo>
                <a:pt x="247668" y="1762483"/>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75C5FF-273D-430B-B490-D40DF205ABE4}">
      <dsp:nvSpPr>
        <dsp:cNvPr id="0" name=""/>
        <dsp:cNvSpPr/>
      </dsp:nvSpPr>
      <dsp:spPr>
        <a:xfrm>
          <a:off x="6330141" y="4190793"/>
          <a:ext cx="1774168" cy="442165"/>
        </a:xfrm>
        <a:prstGeom prst="roundRect">
          <a:avLst>
            <a:gd name="adj" fmla="val 10000"/>
          </a:avLst>
        </a:prstGeom>
        <a:solidFill>
          <a:schemeClr val="accent4">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a:t>&gt;&gt;</a:t>
          </a:r>
        </a:p>
      </dsp:txBody>
      <dsp:txXfrm>
        <a:off x="6343092" y="4203744"/>
        <a:ext cx="1748266" cy="416263"/>
      </dsp:txXfrm>
    </dsp:sp>
    <dsp:sp modelId="{6FEC18CD-1C7C-4612-9949-18B55C7A2316}">
      <dsp:nvSpPr>
        <dsp:cNvPr id="0" name=""/>
        <dsp:cNvSpPr/>
      </dsp:nvSpPr>
      <dsp:spPr>
        <a:xfrm>
          <a:off x="8749536" y="947570"/>
          <a:ext cx="2476684" cy="1701822"/>
        </a:xfrm>
        <a:prstGeom prst="roundRect">
          <a:avLst>
            <a:gd name="adj" fmla="val 10000"/>
          </a:avLst>
        </a:prstGeom>
        <a:solidFill>
          <a:schemeClr val="accent2"/>
        </a:solidFill>
        <a:ln w="12700" cap="flat" cmpd="sng" algn="ctr">
          <a:solidFill>
            <a:schemeClr val="accent2">
              <a:shade val="50000"/>
            </a:schemeClr>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Some streams are </a:t>
          </a:r>
          <a:r>
            <a:rPr lang="en-US" sz="2000" b="1" kern="1200"/>
            <a:t>hidden</a:t>
          </a:r>
          <a:r>
            <a:rPr lang="en-US" sz="2000" kern="1200"/>
            <a:t> by default</a:t>
          </a:r>
        </a:p>
      </dsp:txBody>
      <dsp:txXfrm>
        <a:off x="8799381" y="997415"/>
        <a:ext cx="2376994" cy="1602132"/>
      </dsp:txXfrm>
    </dsp:sp>
    <dsp:sp modelId="{CE9CCA37-C2EA-494A-8044-E2BC37B77033}">
      <dsp:nvSpPr>
        <dsp:cNvPr id="0" name=""/>
        <dsp:cNvSpPr/>
      </dsp:nvSpPr>
      <dsp:spPr>
        <a:xfrm>
          <a:off x="8997205" y="2649392"/>
          <a:ext cx="247668" cy="440106"/>
        </a:xfrm>
        <a:custGeom>
          <a:avLst/>
          <a:gdLst/>
          <a:ahLst/>
          <a:cxnLst/>
          <a:rect l="0" t="0" r="0" b="0"/>
          <a:pathLst>
            <a:path>
              <a:moveTo>
                <a:pt x="0" y="0"/>
              </a:moveTo>
              <a:lnTo>
                <a:pt x="0" y="440106"/>
              </a:lnTo>
              <a:lnTo>
                <a:pt x="247668" y="44010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546E1B7-79DB-404A-ADF0-D21038BE6D77}">
      <dsp:nvSpPr>
        <dsp:cNvPr id="0" name=""/>
        <dsp:cNvSpPr/>
      </dsp:nvSpPr>
      <dsp:spPr>
        <a:xfrm>
          <a:off x="9244873" y="2868416"/>
          <a:ext cx="1774168" cy="442165"/>
        </a:xfrm>
        <a:prstGeom prst="roundRect">
          <a:avLst>
            <a:gd name="adj" fmla="val 10000"/>
          </a:avLst>
        </a:prstGeom>
        <a:solidFill>
          <a:schemeClr val="accent1">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Verbose</a:t>
          </a:r>
        </a:p>
      </dsp:txBody>
      <dsp:txXfrm>
        <a:off x="9257824" y="2881367"/>
        <a:ext cx="1748266" cy="416263"/>
      </dsp:txXfrm>
    </dsp:sp>
    <dsp:sp modelId="{2C764158-55F3-44CD-90B9-FE0D0FD4926E}">
      <dsp:nvSpPr>
        <dsp:cNvPr id="0" name=""/>
        <dsp:cNvSpPr/>
      </dsp:nvSpPr>
      <dsp:spPr>
        <a:xfrm>
          <a:off x="8997205" y="2649392"/>
          <a:ext cx="247668" cy="1101294"/>
        </a:xfrm>
        <a:custGeom>
          <a:avLst/>
          <a:gdLst/>
          <a:ahLst/>
          <a:cxnLst/>
          <a:rect l="0" t="0" r="0" b="0"/>
          <a:pathLst>
            <a:path>
              <a:moveTo>
                <a:pt x="0" y="0"/>
              </a:moveTo>
              <a:lnTo>
                <a:pt x="0" y="1101294"/>
              </a:lnTo>
              <a:lnTo>
                <a:pt x="247668" y="110129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737CCB-2EBA-408A-B94C-AFB7D2404E89}">
      <dsp:nvSpPr>
        <dsp:cNvPr id="0" name=""/>
        <dsp:cNvSpPr/>
      </dsp:nvSpPr>
      <dsp:spPr>
        <a:xfrm>
          <a:off x="9244873" y="3529605"/>
          <a:ext cx="1774168" cy="442165"/>
        </a:xfrm>
        <a:prstGeom prst="roundRect">
          <a:avLst>
            <a:gd name="adj" fmla="val 10000"/>
          </a:avLst>
        </a:prstGeom>
        <a:solidFill>
          <a:schemeClr val="accent1">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Debug</a:t>
          </a:r>
        </a:p>
      </dsp:txBody>
      <dsp:txXfrm>
        <a:off x="9257824" y="3542556"/>
        <a:ext cx="1748266" cy="416263"/>
      </dsp:txXfrm>
    </dsp:sp>
    <dsp:sp modelId="{7688E630-85F4-4BB1-9CEA-1D393CB669FB}">
      <dsp:nvSpPr>
        <dsp:cNvPr id="0" name=""/>
        <dsp:cNvSpPr/>
      </dsp:nvSpPr>
      <dsp:spPr>
        <a:xfrm>
          <a:off x="8997205" y="2649392"/>
          <a:ext cx="247668" cy="1762483"/>
        </a:xfrm>
        <a:custGeom>
          <a:avLst/>
          <a:gdLst/>
          <a:ahLst/>
          <a:cxnLst/>
          <a:rect l="0" t="0" r="0" b="0"/>
          <a:pathLst>
            <a:path>
              <a:moveTo>
                <a:pt x="0" y="0"/>
              </a:moveTo>
              <a:lnTo>
                <a:pt x="0" y="1762483"/>
              </a:lnTo>
              <a:lnTo>
                <a:pt x="247668" y="1762483"/>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B6E957-CCAD-4D1F-8094-A267198653FD}">
      <dsp:nvSpPr>
        <dsp:cNvPr id="0" name=""/>
        <dsp:cNvSpPr/>
      </dsp:nvSpPr>
      <dsp:spPr>
        <a:xfrm>
          <a:off x="9244873" y="4190793"/>
          <a:ext cx="1774168" cy="442165"/>
        </a:xfrm>
        <a:prstGeom prst="roundRect">
          <a:avLst>
            <a:gd name="adj" fmla="val 10000"/>
          </a:avLst>
        </a:prstGeom>
        <a:solidFill>
          <a:schemeClr val="accent1">
            <a:alpha val="50000"/>
          </a:schemeClr>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Information</a:t>
          </a:r>
        </a:p>
      </dsp:txBody>
      <dsp:txXfrm>
        <a:off x="9257824" y="4203744"/>
        <a:ext cx="1748266" cy="41626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3F5D5-11A7-4EBD-AB2A-32B587777418}">
      <dsp:nvSpPr>
        <dsp:cNvPr id="0" name=""/>
        <dsp:cNvSpPr/>
      </dsp:nvSpPr>
      <dsp:spPr>
        <a:xfrm>
          <a:off x="15565" y="254426"/>
          <a:ext cx="4998069" cy="1216800"/>
        </a:xfrm>
        <a:prstGeom prst="roundRect">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Runtime</a:t>
          </a:r>
          <a:r>
            <a:rPr lang="en-US" sz="2000" kern="1200"/>
            <a:t> Errors</a:t>
          </a:r>
        </a:p>
      </dsp:txBody>
      <dsp:txXfrm>
        <a:off x="74964" y="313825"/>
        <a:ext cx="4879271" cy="1098002"/>
      </dsp:txXfrm>
    </dsp:sp>
    <dsp:sp modelId="{4A55D87D-60CD-4B14-93A5-50DF5EB8A373}">
      <dsp:nvSpPr>
        <dsp:cNvPr id="0" name=""/>
        <dsp:cNvSpPr/>
      </dsp:nvSpPr>
      <dsp:spPr>
        <a:xfrm>
          <a:off x="0" y="1481793"/>
          <a:ext cx="5029199" cy="1412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67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Occur during code </a:t>
          </a:r>
          <a:r>
            <a:rPr lang="en-US" sz="2000" b="1" kern="1200"/>
            <a:t>execution</a:t>
          </a:r>
          <a:endParaRPr lang="en-US" sz="2000" kern="1200"/>
        </a:p>
        <a:p>
          <a:pPr marL="228600" lvl="1" indent="-228600" algn="l" defTabSz="889000">
            <a:lnSpc>
              <a:spcPct val="90000"/>
            </a:lnSpc>
            <a:spcBef>
              <a:spcPct val="0"/>
            </a:spcBef>
            <a:spcAft>
              <a:spcPct val="20000"/>
            </a:spcAft>
            <a:buChar char="•"/>
          </a:pPr>
          <a:r>
            <a:rPr lang="en-US" sz="2000" b="0" kern="1200"/>
            <a:t>Creates</a:t>
          </a:r>
          <a:r>
            <a:rPr lang="en-US" sz="2000" kern="1200"/>
            <a:t> an </a:t>
          </a:r>
          <a:r>
            <a:rPr lang="en-US" sz="2000" b="1" kern="1200"/>
            <a:t>exception</a:t>
          </a:r>
          <a:r>
            <a:rPr lang="en-US" sz="2000" kern="1200"/>
            <a:t> object in the </a:t>
          </a:r>
          <a:r>
            <a:rPr lang="en-US" sz="2000" b="1" kern="1200"/>
            <a:t>$Error </a:t>
          </a:r>
          <a:r>
            <a:rPr lang="en-US" sz="2000" kern="1200"/>
            <a:t>automatic variable</a:t>
          </a:r>
        </a:p>
        <a:p>
          <a:pPr marL="228600" lvl="1" indent="-228600" algn="l" defTabSz="889000">
            <a:lnSpc>
              <a:spcPct val="90000"/>
            </a:lnSpc>
            <a:spcBef>
              <a:spcPct val="0"/>
            </a:spcBef>
            <a:spcAft>
              <a:spcPct val="20000"/>
            </a:spcAft>
            <a:buChar char="•"/>
          </a:pPr>
          <a:endParaRPr lang="en-US" sz="2000" kern="1200"/>
        </a:p>
      </dsp:txBody>
      <dsp:txXfrm>
        <a:off x="0" y="1481793"/>
        <a:ext cx="5029199" cy="1412775"/>
      </dsp:txXfrm>
    </dsp:sp>
    <dsp:sp modelId="{4629E081-81D2-4582-A2BA-742FDD6A68FE}">
      <dsp:nvSpPr>
        <dsp:cNvPr id="0" name=""/>
        <dsp:cNvSpPr/>
      </dsp:nvSpPr>
      <dsp:spPr>
        <a:xfrm>
          <a:off x="15565" y="2894568"/>
          <a:ext cx="499806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Design</a:t>
          </a:r>
          <a:r>
            <a:rPr lang="en-US" sz="2000" kern="1200"/>
            <a:t> Time Errors</a:t>
          </a:r>
        </a:p>
      </dsp:txBody>
      <dsp:txXfrm>
        <a:off x="74964" y="2953967"/>
        <a:ext cx="4879271" cy="1098002"/>
      </dsp:txXfrm>
    </dsp:sp>
    <dsp:sp modelId="{00CCB998-6F0D-472D-B2FF-CA60FBDBEED4}">
      <dsp:nvSpPr>
        <dsp:cNvPr id="0" name=""/>
        <dsp:cNvSpPr/>
      </dsp:nvSpPr>
      <dsp:spPr>
        <a:xfrm>
          <a:off x="0" y="4111368"/>
          <a:ext cx="5029199"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67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a:t>Syntax</a:t>
          </a:r>
          <a:r>
            <a:rPr lang="en-US" sz="2000" kern="1200"/>
            <a:t> errors</a:t>
          </a:r>
          <a:endParaRPr lang="en-US" sz="2000" b="1" kern="1200"/>
        </a:p>
        <a:p>
          <a:pPr marL="228600" lvl="1" indent="-228600" algn="l" defTabSz="889000">
            <a:lnSpc>
              <a:spcPct val="90000"/>
            </a:lnSpc>
            <a:spcBef>
              <a:spcPct val="0"/>
            </a:spcBef>
            <a:spcAft>
              <a:spcPct val="20000"/>
            </a:spcAft>
            <a:buChar char="•"/>
          </a:pPr>
          <a:r>
            <a:rPr lang="en-US" sz="2000" b="1" kern="1200"/>
            <a:t>No </a:t>
          </a:r>
          <a:r>
            <a:rPr lang="en-US" sz="2000" b="0" kern="1200"/>
            <a:t>exception</a:t>
          </a:r>
          <a:r>
            <a:rPr lang="en-US" sz="2000" b="1" kern="1200"/>
            <a:t> </a:t>
          </a:r>
          <a:r>
            <a:rPr lang="en-US" sz="2000" b="0" kern="1200"/>
            <a:t>object created</a:t>
          </a:r>
          <a:endParaRPr lang="en-US" sz="2000" b="1" kern="1200"/>
        </a:p>
        <a:p>
          <a:pPr marL="228600" lvl="1" indent="-228600" algn="l" defTabSz="889000">
            <a:lnSpc>
              <a:spcPct val="90000"/>
            </a:lnSpc>
            <a:spcBef>
              <a:spcPct val="0"/>
            </a:spcBef>
            <a:spcAft>
              <a:spcPct val="20000"/>
            </a:spcAft>
            <a:buChar char="•"/>
          </a:pPr>
          <a:r>
            <a:rPr lang="en-US" sz="2000" b="0" kern="1200"/>
            <a:t>Code </a:t>
          </a:r>
          <a:r>
            <a:rPr lang="en-US" sz="2000" b="1" kern="1200"/>
            <a:t>unable</a:t>
          </a:r>
          <a:r>
            <a:rPr lang="en-US" sz="2000" b="0" kern="1200"/>
            <a:t> to execute</a:t>
          </a:r>
        </a:p>
      </dsp:txBody>
      <dsp:txXfrm>
        <a:off x="0" y="4111368"/>
        <a:ext cx="5029199" cy="111003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511FBC-EBAA-4B0C-8296-667F21988698}">
      <dsp:nvSpPr>
        <dsp:cNvPr id="0" name=""/>
        <dsp:cNvSpPr/>
      </dsp:nvSpPr>
      <dsp:spPr>
        <a:xfrm>
          <a:off x="1483" y="998284"/>
          <a:ext cx="2006436" cy="836672"/>
        </a:xfrm>
        <a:prstGeom prst="roundRect">
          <a:avLst>
            <a:gd name="adj" fmla="val 10000"/>
          </a:avLst>
        </a:prstGeom>
        <a:solidFill>
          <a:srgbClr val="2100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a:t>Terminating</a:t>
          </a:r>
        </a:p>
      </dsp:txBody>
      <dsp:txXfrm>
        <a:off x="25988" y="1022789"/>
        <a:ext cx="1957426" cy="787662"/>
      </dsp:txXfrm>
    </dsp:sp>
    <dsp:sp modelId="{DB310F8F-BDA9-4548-AE8A-19416959F810}">
      <dsp:nvSpPr>
        <dsp:cNvPr id="0" name=""/>
        <dsp:cNvSpPr/>
      </dsp:nvSpPr>
      <dsp:spPr>
        <a:xfrm>
          <a:off x="202127" y="1834957"/>
          <a:ext cx="200643" cy="948380"/>
        </a:xfrm>
        <a:custGeom>
          <a:avLst/>
          <a:gdLst/>
          <a:ahLst/>
          <a:cxnLst/>
          <a:rect l="0" t="0" r="0" b="0"/>
          <a:pathLst>
            <a:path>
              <a:moveTo>
                <a:pt x="0" y="0"/>
              </a:moveTo>
              <a:lnTo>
                <a:pt x="0" y="948380"/>
              </a:lnTo>
              <a:lnTo>
                <a:pt x="200643" y="94838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112101-A968-4DAB-8EBC-01C6BD46375E}">
      <dsp:nvSpPr>
        <dsp:cNvPr id="0" name=""/>
        <dsp:cNvSpPr/>
      </dsp:nvSpPr>
      <dsp:spPr>
        <a:xfrm>
          <a:off x="402771" y="2200444"/>
          <a:ext cx="2430623" cy="1165786"/>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Code statement </a:t>
          </a:r>
          <a:r>
            <a:rPr lang="en-US" sz="2000" b="0" kern="1200"/>
            <a:t>immediately </a:t>
          </a:r>
          <a:r>
            <a:rPr lang="en-US" sz="2000" b="1" kern="1200"/>
            <a:t>stops</a:t>
          </a:r>
          <a:endParaRPr lang="en-US" sz="2000" kern="1200"/>
        </a:p>
      </dsp:txBody>
      <dsp:txXfrm>
        <a:off x="436916" y="2234589"/>
        <a:ext cx="2362333" cy="1097496"/>
      </dsp:txXfrm>
    </dsp:sp>
    <dsp:sp modelId="{FCE461A1-15A6-404F-85D4-0F34B709E428}">
      <dsp:nvSpPr>
        <dsp:cNvPr id="0" name=""/>
        <dsp:cNvSpPr/>
      </dsp:nvSpPr>
      <dsp:spPr>
        <a:xfrm>
          <a:off x="202127" y="1834957"/>
          <a:ext cx="200643" cy="2482731"/>
        </a:xfrm>
        <a:custGeom>
          <a:avLst/>
          <a:gdLst/>
          <a:ahLst/>
          <a:cxnLst/>
          <a:rect l="0" t="0" r="0" b="0"/>
          <a:pathLst>
            <a:path>
              <a:moveTo>
                <a:pt x="0" y="0"/>
              </a:moveTo>
              <a:lnTo>
                <a:pt x="0" y="2482731"/>
              </a:lnTo>
              <a:lnTo>
                <a:pt x="200643" y="2482731"/>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4A0A8B-AFFA-4C8D-99AF-786859CF2FDB}">
      <dsp:nvSpPr>
        <dsp:cNvPr id="0" name=""/>
        <dsp:cNvSpPr/>
      </dsp:nvSpPr>
      <dsp:spPr>
        <a:xfrm>
          <a:off x="402771" y="3731718"/>
          <a:ext cx="2336871" cy="1171941"/>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Will stop function or script if </a:t>
          </a:r>
          <a:r>
            <a:rPr lang="en-US" sz="2000" b="1" kern="1200"/>
            <a:t>not</a:t>
          </a:r>
          <a:r>
            <a:rPr lang="en-US" sz="2000" kern="1200"/>
            <a:t> handled</a:t>
          </a:r>
        </a:p>
      </dsp:txBody>
      <dsp:txXfrm>
        <a:off x="437096" y="3766043"/>
        <a:ext cx="2268221" cy="1103291"/>
      </dsp:txXfrm>
    </dsp:sp>
    <dsp:sp modelId="{445E39E4-661C-40F6-9DCF-A284E2BA30D0}">
      <dsp:nvSpPr>
        <dsp:cNvPr id="0" name=""/>
        <dsp:cNvSpPr/>
      </dsp:nvSpPr>
      <dsp:spPr>
        <a:xfrm>
          <a:off x="3185659" y="998284"/>
          <a:ext cx="1893544" cy="767201"/>
        </a:xfrm>
        <a:prstGeom prst="roundRect">
          <a:avLst>
            <a:gd name="adj" fmla="val 10000"/>
          </a:avLst>
        </a:prstGeom>
        <a:solidFill>
          <a:srgbClr val="2100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a:t>Non-Terminating</a:t>
          </a:r>
        </a:p>
      </dsp:txBody>
      <dsp:txXfrm>
        <a:off x="3208130" y="1020755"/>
        <a:ext cx="1848602" cy="722259"/>
      </dsp:txXfrm>
    </dsp:sp>
    <dsp:sp modelId="{48483C23-6B22-41EF-A94C-51187286CBDD}">
      <dsp:nvSpPr>
        <dsp:cNvPr id="0" name=""/>
        <dsp:cNvSpPr/>
      </dsp:nvSpPr>
      <dsp:spPr>
        <a:xfrm>
          <a:off x="3375014" y="1765485"/>
          <a:ext cx="189354" cy="945091"/>
        </a:xfrm>
        <a:custGeom>
          <a:avLst/>
          <a:gdLst/>
          <a:ahLst/>
          <a:cxnLst/>
          <a:rect l="0" t="0" r="0" b="0"/>
          <a:pathLst>
            <a:path>
              <a:moveTo>
                <a:pt x="0" y="0"/>
              </a:moveTo>
              <a:lnTo>
                <a:pt x="0" y="945091"/>
              </a:lnTo>
              <a:lnTo>
                <a:pt x="189354" y="945091"/>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9849819-A542-4506-983C-B1394972581E}">
      <dsp:nvSpPr>
        <dsp:cNvPr id="0" name=""/>
        <dsp:cNvSpPr/>
      </dsp:nvSpPr>
      <dsp:spPr>
        <a:xfrm>
          <a:off x="3564368" y="2130972"/>
          <a:ext cx="2364285" cy="1159207"/>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Code execution will </a:t>
          </a:r>
          <a:r>
            <a:rPr lang="en-US" sz="2000" b="1" kern="1200"/>
            <a:t>continue</a:t>
          </a:r>
          <a:endParaRPr lang="en-US" sz="2000" kern="1200"/>
        </a:p>
      </dsp:txBody>
      <dsp:txXfrm>
        <a:off x="3598320" y="2164924"/>
        <a:ext cx="2296381" cy="1091303"/>
      </dsp:txXfrm>
    </dsp:sp>
    <dsp:sp modelId="{2ED96A9E-DB26-4ABD-B303-11CAA43E8B05}">
      <dsp:nvSpPr>
        <dsp:cNvPr id="0" name=""/>
        <dsp:cNvSpPr/>
      </dsp:nvSpPr>
      <dsp:spPr>
        <a:xfrm>
          <a:off x="3375014" y="1765485"/>
          <a:ext cx="189354" cy="2549579"/>
        </a:xfrm>
        <a:custGeom>
          <a:avLst/>
          <a:gdLst/>
          <a:ahLst/>
          <a:cxnLst/>
          <a:rect l="0" t="0" r="0" b="0"/>
          <a:pathLst>
            <a:path>
              <a:moveTo>
                <a:pt x="0" y="0"/>
              </a:moveTo>
              <a:lnTo>
                <a:pt x="0" y="2549579"/>
              </a:lnTo>
              <a:lnTo>
                <a:pt x="189354" y="2549579"/>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BD84DE6-703E-4BED-917C-55A460A6F0E2}">
      <dsp:nvSpPr>
        <dsp:cNvPr id="0" name=""/>
        <dsp:cNvSpPr/>
      </dsp:nvSpPr>
      <dsp:spPr>
        <a:xfrm>
          <a:off x="3564368" y="3655667"/>
          <a:ext cx="2392495" cy="1318794"/>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Can optionally be </a:t>
          </a:r>
          <a:r>
            <a:rPr lang="en-US" sz="2000" b="1" kern="1200"/>
            <a:t>converted</a:t>
          </a:r>
          <a:r>
            <a:rPr lang="en-US" sz="2000" kern="1200"/>
            <a:t> to terminating error</a:t>
          </a:r>
        </a:p>
      </dsp:txBody>
      <dsp:txXfrm>
        <a:off x="3602994" y="3694293"/>
        <a:ext cx="2315243" cy="124154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3F5D5-11A7-4EBD-AB2A-32B587777418}">
      <dsp:nvSpPr>
        <dsp:cNvPr id="0" name=""/>
        <dsp:cNvSpPr/>
      </dsp:nvSpPr>
      <dsp:spPr>
        <a:xfrm>
          <a:off x="0" y="6393"/>
          <a:ext cx="11185525" cy="536742"/>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panose="020B0502040204020203" pitchFamily="34" charset="0"/>
              <a:cs typeface="Segoe UI Light"/>
            </a:rPr>
            <a:t>Does </a:t>
          </a:r>
          <a:r>
            <a:rPr lang="en-US" sz="2400" b="1" kern="1200">
              <a:latin typeface="Segoe UI" panose="020B0502040204020203" pitchFamily="34" charset="0"/>
              <a:cs typeface="Segoe UI Light"/>
            </a:rPr>
            <a:t>not</a:t>
          </a:r>
          <a:r>
            <a:rPr lang="en-US" sz="2400" kern="1200">
              <a:latin typeface="Segoe UI" panose="020B0502040204020203" pitchFamily="34" charset="0"/>
              <a:cs typeface="Segoe UI Light"/>
            </a:rPr>
            <a:t> stop code execution </a:t>
          </a:r>
          <a:r>
            <a:rPr lang="en-US" sz="2400" i="1" kern="1200">
              <a:latin typeface="Segoe UI" panose="020B0502040204020203" pitchFamily="34" charset="0"/>
              <a:cs typeface="Segoe UI Light"/>
            </a:rPr>
            <a:t>(default)</a:t>
          </a:r>
          <a:endParaRPr lang="en-US" sz="2400" kern="1200"/>
        </a:p>
      </dsp:txBody>
      <dsp:txXfrm>
        <a:off x="26202" y="32595"/>
        <a:ext cx="11133121" cy="484338"/>
      </dsp:txXfrm>
    </dsp:sp>
    <dsp:sp modelId="{7AF8DD4D-1DF9-4453-B18B-6722014DB2E3}">
      <dsp:nvSpPr>
        <dsp:cNvPr id="0" name=""/>
        <dsp:cNvSpPr/>
      </dsp:nvSpPr>
      <dsp:spPr>
        <a:xfrm>
          <a:off x="0" y="544859"/>
          <a:ext cx="11185525" cy="1168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14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1" kern="1200">
              <a:latin typeface="Segoe UI" panose="020B0502040204020203" pitchFamily="34" charset="0"/>
              <a:cs typeface="Segoe UI Light"/>
            </a:rPr>
            <a:t>Optionally handle </a:t>
          </a:r>
          <a:r>
            <a:rPr lang="en-US" sz="2400" kern="1200">
              <a:latin typeface="Segoe UI" panose="020B0502040204020203" pitchFamily="34" charset="0"/>
              <a:cs typeface="Segoe UI Light"/>
            </a:rPr>
            <a:t>error in code using automatic variables</a:t>
          </a:r>
          <a:endParaRPr lang="en-US" sz="2400" kern="1200"/>
        </a:p>
        <a:p>
          <a:pPr marL="228600" lvl="1" indent="-228600" algn="l" defTabSz="1066800">
            <a:lnSpc>
              <a:spcPct val="90000"/>
            </a:lnSpc>
            <a:spcBef>
              <a:spcPct val="0"/>
            </a:spcBef>
            <a:spcAft>
              <a:spcPct val="20000"/>
            </a:spcAft>
            <a:buChar char="•"/>
          </a:pPr>
          <a:r>
            <a:rPr lang="en-US" sz="2400" kern="1200">
              <a:latin typeface="Segoe UI" panose="020B0502040204020203" pitchFamily="34" charset="0"/>
              <a:cs typeface="Segoe UI Light"/>
            </a:rPr>
            <a:t>Error messages can be </a:t>
          </a:r>
          <a:r>
            <a:rPr lang="en-US" sz="2400" b="1" kern="1200">
              <a:latin typeface="Segoe UI" panose="020B0502040204020203" pitchFamily="34" charset="0"/>
              <a:cs typeface="Segoe UI Light"/>
            </a:rPr>
            <a:t>suppressed</a:t>
          </a:r>
        </a:p>
        <a:p>
          <a:pPr marL="228600" lvl="1" indent="-228600" algn="l" defTabSz="1066800">
            <a:lnSpc>
              <a:spcPct val="90000"/>
            </a:lnSpc>
            <a:spcBef>
              <a:spcPct val="0"/>
            </a:spcBef>
            <a:spcAft>
              <a:spcPct val="20000"/>
            </a:spcAft>
            <a:buChar char="•"/>
          </a:pPr>
          <a:endParaRPr lang="en-US" sz="2400" kern="1200"/>
        </a:p>
      </dsp:txBody>
      <dsp:txXfrm>
        <a:off x="0" y="544859"/>
        <a:ext cx="11185525" cy="1168764"/>
      </dsp:txXfrm>
    </dsp:sp>
    <dsp:sp modelId="{4629E081-81D2-4582-A2BA-742FDD6A68FE}">
      <dsp:nvSpPr>
        <dsp:cNvPr id="0" name=""/>
        <dsp:cNvSpPr/>
      </dsp:nvSpPr>
      <dsp:spPr>
        <a:xfrm>
          <a:off x="0" y="1525783"/>
          <a:ext cx="11185525" cy="536742"/>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panose="020B0502040204020203" pitchFamily="34" charset="0"/>
              <a:cs typeface="Segoe UI Light"/>
            </a:rPr>
            <a:t>Can be </a:t>
          </a:r>
          <a:r>
            <a:rPr lang="en-US" sz="2400" b="1" kern="1200">
              <a:latin typeface="Segoe UI" panose="020B0502040204020203" pitchFamily="34" charset="0"/>
              <a:cs typeface="Segoe UI Light"/>
            </a:rPr>
            <a:t>converted</a:t>
          </a:r>
          <a:r>
            <a:rPr lang="en-US" sz="2400" kern="1200">
              <a:latin typeface="Segoe UI" panose="020B0502040204020203" pitchFamily="34" charset="0"/>
              <a:cs typeface="Segoe UI Light"/>
            </a:rPr>
            <a:t> into Terminating error</a:t>
          </a:r>
          <a:endParaRPr lang="en-US" sz="2400" kern="1200"/>
        </a:p>
      </dsp:txBody>
      <dsp:txXfrm>
        <a:off x="26202" y="1551985"/>
        <a:ext cx="11133121" cy="484338"/>
      </dsp:txXfrm>
    </dsp:sp>
    <dsp:sp modelId="{00CCB998-6F0D-472D-B2FF-CA60FBDBEED4}">
      <dsp:nvSpPr>
        <dsp:cNvPr id="0" name=""/>
        <dsp:cNvSpPr/>
      </dsp:nvSpPr>
      <dsp:spPr>
        <a:xfrm>
          <a:off x="0" y="2105756"/>
          <a:ext cx="11185525" cy="785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14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1" kern="1200">
              <a:latin typeface="Segoe UI" panose="020B0502040204020203" pitchFamily="34" charset="0"/>
              <a:cs typeface="Segoe UI Light"/>
            </a:rPr>
            <a:t>-</a:t>
          </a:r>
          <a:r>
            <a:rPr lang="en-US" sz="2400" b="1" kern="1200" err="1">
              <a:latin typeface="Segoe UI" panose="020B0502040204020203" pitchFamily="34" charset="0"/>
              <a:cs typeface="Segoe UI Light"/>
            </a:rPr>
            <a:t>ErrorAction</a:t>
          </a:r>
          <a:r>
            <a:rPr lang="en-US" sz="2400" kern="1200">
              <a:latin typeface="Segoe UI" panose="020B0502040204020203" pitchFamily="34" charset="0"/>
              <a:cs typeface="Segoe UI Light"/>
            </a:rPr>
            <a:t> Stop </a:t>
          </a:r>
          <a:endParaRPr lang="en-US" sz="2400" kern="1200"/>
        </a:p>
        <a:p>
          <a:pPr marL="228600" lvl="1" indent="-228600" algn="l" defTabSz="1066800">
            <a:lnSpc>
              <a:spcPct val="90000"/>
            </a:lnSpc>
            <a:spcBef>
              <a:spcPct val="0"/>
            </a:spcBef>
            <a:spcAft>
              <a:spcPct val="20000"/>
            </a:spcAft>
            <a:buChar char="•"/>
          </a:pPr>
          <a:r>
            <a:rPr lang="en-US" sz="2400" b="1" kern="1200">
              <a:latin typeface="Segoe UI" panose="020B0502040204020203" pitchFamily="34" charset="0"/>
              <a:cs typeface="Segoe UI Light"/>
            </a:rPr>
            <a:t>$</a:t>
          </a:r>
          <a:r>
            <a:rPr lang="en-US" sz="2400" b="1" kern="1200" err="1">
              <a:latin typeface="Segoe UI" panose="020B0502040204020203" pitchFamily="34" charset="0"/>
              <a:cs typeface="Segoe UI Light"/>
            </a:rPr>
            <a:t>ErrorActionPreference</a:t>
          </a:r>
          <a:r>
            <a:rPr lang="en-US" sz="2400" b="1" kern="1200">
              <a:latin typeface="Segoe UI" panose="020B0502040204020203" pitchFamily="34" charset="0"/>
              <a:cs typeface="Segoe UI Light"/>
            </a:rPr>
            <a:t> </a:t>
          </a:r>
          <a:r>
            <a:rPr lang="en-US" sz="2400" kern="1200">
              <a:latin typeface="Segoe UI" panose="020B0502040204020203" pitchFamily="34" charset="0"/>
              <a:cs typeface="Segoe UI Light"/>
            </a:rPr>
            <a:t>= ‘Stop’</a:t>
          </a:r>
        </a:p>
      </dsp:txBody>
      <dsp:txXfrm>
        <a:off x="0" y="2105756"/>
        <a:ext cx="11185525" cy="78526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DEA63F-05B7-45BE-91F7-CE28E85B9B97}">
      <dsp:nvSpPr>
        <dsp:cNvPr id="0" name=""/>
        <dsp:cNvSpPr/>
      </dsp:nvSpPr>
      <dsp:spPr>
        <a:xfrm rot="5400000">
          <a:off x="6175645" y="-3174264"/>
          <a:ext cx="1354642" cy="8046962"/>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a:t>Execution status of last command</a:t>
          </a:r>
        </a:p>
        <a:p>
          <a:pPr marL="228600" lvl="1" indent="-228600" algn="l" defTabSz="1066800">
            <a:lnSpc>
              <a:spcPct val="90000"/>
            </a:lnSpc>
            <a:spcBef>
              <a:spcPct val="0"/>
            </a:spcBef>
            <a:spcAft>
              <a:spcPct val="15000"/>
            </a:spcAft>
            <a:buChar char="•"/>
          </a:pPr>
          <a:r>
            <a:rPr lang="en-US" sz="2400" kern="1200"/>
            <a:t>Returns TRUE if succeeded</a:t>
          </a:r>
        </a:p>
        <a:p>
          <a:pPr marL="228600" lvl="1" indent="-228600" algn="l" defTabSz="1066800">
            <a:lnSpc>
              <a:spcPct val="90000"/>
            </a:lnSpc>
            <a:spcBef>
              <a:spcPct val="0"/>
            </a:spcBef>
            <a:spcAft>
              <a:spcPct val="15000"/>
            </a:spcAft>
            <a:buChar char="•"/>
          </a:pPr>
          <a:r>
            <a:rPr lang="en-US" sz="2400" kern="1200"/>
            <a:t>Returns FALSE if any failure</a:t>
          </a:r>
        </a:p>
      </dsp:txBody>
      <dsp:txXfrm rot="-5400000">
        <a:off x="2829485" y="238024"/>
        <a:ext cx="7980834" cy="1222386"/>
      </dsp:txXfrm>
    </dsp:sp>
    <dsp:sp modelId="{D0513155-C6AE-4B82-A507-4D461D7D50E8}">
      <dsp:nvSpPr>
        <dsp:cNvPr id="0" name=""/>
        <dsp:cNvSpPr/>
      </dsp:nvSpPr>
      <dsp:spPr>
        <a:xfrm>
          <a:off x="4277" y="2565"/>
          <a:ext cx="2825207" cy="1693302"/>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a:t>
          </a:r>
        </a:p>
      </dsp:txBody>
      <dsp:txXfrm>
        <a:off x="86937" y="85225"/>
        <a:ext cx="2659887" cy="1527982"/>
      </dsp:txXfrm>
    </dsp:sp>
    <dsp:sp modelId="{73C54BED-6990-4E6A-8B6D-C8EA5E2ABDA7}">
      <dsp:nvSpPr>
        <dsp:cNvPr id="0" name=""/>
        <dsp:cNvSpPr/>
      </dsp:nvSpPr>
      <dsp:spPr>
        <a:xfrm rot="5400000">
          <a:off x="6175645" y="-1396296"/>
          <a:ext cx="1354642" cy="8046962"/>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a:t>Contains exit code of last external/native command</a:t>
          </a:r>
        </a:p>
        <a:p>
          <a:pPr marL="228600" lvl="1" indent="-228600" algn="l" defTabSz="1066800">
            <a:lnSpc>
              <a:spcPct val="90000"/>
            </a:lnSpc>
            <a:spcBef>
              <a:spcPct val="0"/>
            </a:spcBef>
            <a:spcAft>
              <a:spcPct val="15000"/>
            </a:spcAft>
            <a:buChar char="•"/>
          </a:pPr>
          <a:r>
            <a:rPr lang="en-US" sz="2400" kern="1200"/>
            <a:t>Value of ‘0’ usually indicates success</a:t>
          </a:r>
        </a:p>
      </dsp:txBody>
      <dsp:txXfrm rot="-5400000">
        <a:off x="2829485" y="2015992"/>
        <a:ext cx="7980834" cy="1222386"/>
      </dsp:txXfrm>
    </dsp:sp>
    <dsp:sp modelId="{3411F7BB-25DA-4F74-97BC-E526AF7F1D38}">
      <dsp:nvSpPr>
        <dsp:cNvPr id="0" name=""/>
        <dsp:cNvSpPr/>
      </dsp:nvSpPr>
      <dsp:spPr>
        <a:xfrm>
          <a:off x="4277" y="1780533"/>
          <a:ext cx="2825207" cy="1693302"/>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a:t>
          </a:r>
          <a:r>
            <a:rPr lang="en-US" sz="2800" kern="1200" err="1"/>
            <a:t>LastExitCode</a:t>
          </a:r>
          <a:endParaRPr lang="en-US" sz="2800" kern="1200"/>
        </a:p>
      </dsp:txBody>
      <dsp:txXfrm>
        <a:off x="86937" y="1863193"/>
        <a:ext cx="2659887" cy="1527982"/>
      </dsp:txXfrm>
    </dsp:sp>
    <dsp:sp modelId="{3458A37C-CED6-4BDA-B227-6B14AFA2B204}">
      <dsp:nvSpPr>
        <dsp:cNvPr id="0" name=""/>
        <dsp:cNvSpPr/>
      </dsp:nvSpPr>
      <dsp:spPr>
        <a:xfrm rot="5400000">
          <a:off x="6175645" y="381671"/>
          <a:ext cx="1354642" cy="8046962"/>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a:t>Array of error objects with most recent errors</a:t>
          </a:r>
        </a:p>
        <a:p>
          <a:pPr marL="228600" lvl="1" indent="-228600" algn="l" defTabSz="1066800">
            <a:lnSpc>
              <a:spcPct val="90000"/>
            </a:lnSpc>
            <a:spcBef>
              <a:spcPct val="0"/>
            </a:spcBef>
            <a:spcAft>
              <a:spcPct val="15000"/>
            </a:spcAft>
            <a:buChar char="•"/>
          </a:pPr>
          <a:r>
            <a:rPr lang="en-US" sz="2400" b="1" kern="1200"/>
            <a:t>$Error[0] </a:t>
          </a:r>
          <a:r>
            <a:rPr lang="en-US" sz="2400" b="0" kern="1200"/>
            <a:t>contains most recent error object</a:t>
          </a:r>
        </a:p>
      </dsp:txBody>
      <dsp:txXfrm rot="-5400000">
        <a:off x="2829485" y="3793959"/>
        <a:ext cx="7980834" cy="1222386"/>
      </dsp:txXfrm>
    </dsp:sp>
    <dsp:sp modelId="{0B95C38E-B2C1-4D2C-8A93-A9FC3FD1D6E0}">
      <dsp:nvSpPr>
        <dsp:cNvPr id="0" name=""/>
        <dsp:cNvSpPr/>
      </dsp:nvSpPr>
      <dsp:spPr>
        <a:xfrm>
          <a:off x="4277" y="3558500"/>
          <a:ext cx="2825207" cy="1693302"/>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Error</a:t>
          </a:r>
        </a:p>
      </dsp:txBody>
      <dsp:txXfrm>
        <a:off x="86937" y="3641160"/>
        <a:ext cx="2659887" cy="152798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7C4783-5E52-40FC-A261-E8B16E688B7C}">
      <dsp:nvSpPr>
        <dsp:cNvPr id="0" name=""/>
        <dsp:cNvSpPr/>
      </dsp:nvSpPr>
      <dsp:spPr>
        <a:xfrm>
          <a:off x="0" y="406776"/>
          <a:ext cx="3414613" cy="2048768"/>
        </a:xfrm>
        <a:prstGeom prst="rect">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Data type </a:t>
          </a:r>
          <a:r>
            <a:rPr lang="en-US" sz="2400" kern="1200" baseline="0"/>
            <a:t>used to store error information in PowerShell</a:t>
          </a:r>
          <a:endParaRPr lang="en-US" sz="2400" kern="1200"/>
        </a:p>
      </dsp:txBody>
      <dsp:txXfrm>
        <a:off x="0" y="406776"/>
        <a:ext cx="3414613" cy="2048768"/>
      </dsp:txXfrm>
    </dsp:sp>
    <dsp:sp modelId="{7FDFDFD1-6A06-4FC4-B4CB-7FD100ED4A06}">
      <dsp:nvSpPr>
        <dsp:cNvPr id="0" name=""/>
        <dsp:cNvSpPr/>
      </dsp:nvSpPr>
      <dsp:spPr>
        <a:xfrm>
          <a:off x="3756074" y="406776"/>
          <a:ext cx="3414613" cy="2048768"/>
        </a:xfrm>
        <a:prstGeom prst="rect">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Accessible via </a:t>
          </a:r>
          <a:r>
            <a:rPr lang="en-US" sz="2400" b="1" kern="1200" baseline="0"/>
            <a:t>$Error</a:t>
          </a:r>
          <a:endParaRPr lang="en-US" sz="2400" b="1" kern="1200"/>
        </a:p>
      </dsp:txBody>
      <dsp:txXfrm>
        <a:off x="3756074" y="406776"/>
        <a:ext cx="3414613" cy="2048768"/>
      </dsp:txXfrm>
    </dsp:sp>
    <dsp:sp modelId="{EA5E8A59-82FE-45FD-BD38-A7B761145CA9}">
      <dsp:nvSpPr>
        <dsp:cNvPr id="0" name=""/>
        <dsp:cNvSpPr/>
      </dsp:nvSpPr>
      <dsp:spPr>
        <a:xfrm>
          <a:off x="7512149" y="406776"/>
          <a:ext cx="3414613" cy="2048768"/>
        </a:xfrm>
        <a:prstGeom prst="rect">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Contains useful error information in the </a:t>
          </a:r>
          <a:r>
            <a:rPr lang="en-US" sz="2400" b="1" kern="1200" baseline="0"/>
            <a:t>properties</a:t>
          </a:r>
          <a:endParaRPr lang="en-US" sz="2400" b="1" kern="1200"/>
        </a:p>
      </dsp:txBody>
      <dsp:txXfrm>
        <a:off x="7512149" y="406776"/>
        <a:ext cx="3414613" cy="204876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644199-1AA6-4EE2-A945-418CECBE52B7}">
      <dsp:nvSpPr>
        <dsp:cNvPr id="0" name=""/>
        <dsp:cNvSpPr/>
      </dsp:nvSpPr>
      <dsp:spPr>
        <a:xfrm>
          <a:off x="2475" y="0"/>
          <a:ext cx="2414691" cy="214297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Create a dedicated variable to hold errors from a </a:t>
          </a:r>
          <a:r>
            <a:rPr lang="en-US" sz="2000" b="1" kern="1200"/>
            <a:t>specific</a:t>
          </a:r>
          <a:r>
            <a:rPr lang="en-US" sz="2000" kern="1200"/>
            <a:t> cmdlet call</a:t>
          </a:r>
        </a:p>
      </dsp:txBody>
      <dsp:txXfrm>
        <a:off x="65241" y="62766"/>
        <a:ext cx="2289159" cy="2017447"/>
      </dsp:txXfrm>
    </dsp:sp>
    <dsp:sp modelId="{1EA41127-161B-4C81-BCDE-8902AC236247}">
      <dsp:nvSpPr>
        <dsp:cNvPr id="0" name=""/>
        <dsp:cNvSpPr/>
      </dsp:nvSpPr>
      <dsp:spPr>
        <a:xfrm>
          <a:off x="2822835" y="0"/>
          <a:ext cx="2414691" cy="214297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Error record also goes to </a:t>
          </a:r>
          <a:r>
            <a:rPr lang="en-US" sz="2000" b="1" kern="1200"/>
            <a:t>$Error</a:t>
          </a:r>
          <a:endParaRPr lang="en-US" sz="2000" kern="1200"/>
        </a:p>
      </dsp:txBody>
      <dsp:txXfrm>
        <a:off x="2885601" y="62766"/>
        <a:ext cx="2289159" cy="2017447"/>
      </dsp:txXfrm>
    </dsp:sp>
    <dsp:sp modelId="{466865F3-B4A2-4F8C-8CEB-82DCBD9FE93C}">
      <dsp:nvSpPr>
        <dsp:cNvPr id="0" name=""/>
        <dsp:cNvSpPr/>
      </dsp:nvSpPr>
      <dsp:spPr>
        <a:xfrm>
          <a:off x="5643196" y="0"/>
          <a:ext cx="2414691" cy="214297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et to </a:t>
          </a:r>
          <a:r>
            <a:rPr lang="en-US" sz="2000" b="1" kern="1200"/>
            <a:t>null</a:t>
          </a:r>
          <a:r>
            <a:rPr lang="en-US" sz="2000" kern="1200"/>
            <a:t> if no errors occurred</a:t>
          </a:r>
        </a:p>
      </dsp:txBody>
      <dsp:txXfrm>
        <a:off x="5705962" y="62766"/>
        <a:ext cx="2289159" cy="2017447"/>
      </dsp:txXfrm>
    </dsp:sp>
    <dsp:sp modelId="{23966F77-587F-4948-BB58-9F12A78CC48A}">
      <dsp:nvSpPr>
        <dsp:cNvPr id="0" name=""/>
        <dsp:cNvSpPr/>
      </dsp:nvSpPr>
      <dsp:spPr>
        <a:xfrm>
          <a:off x="8463556" y="0"/>
          <a:ext cx="2414691" cy="214297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Allows for looping over </a:t>
          </a:r>
          <a:r>
            <a:rPr lang="en-US" sz="2000" b="1" kern="1200"/>
            <a:t>multiple</a:t>
          </a:r>
          <a:r>
            <a:rPr lang="en-US" sz="2000" kern="1200"/>
            <a:t> errors generated by the same cmdlet</a:t>
          </a:r>
        </a:p>
      </dsp:txBody>
      <dsp:txXfrm>
        <a:off x="8526322" y="62766"/>
        <a:ext cx="2289159" cy="201744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4366E9-1DB3-4585-8AE0-5FCC13BF84DE}">
      <dsp:nvSpPr>
        <dsp:cNvPr id="0" name=""/>
        <dsp:cNvSpPr/>
      </dsp:nvSpPr>
      <dsp:spPr>
        <a:xfrm>
          <a:off x="0" y="88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EC9A1A-E130-45F0-9A83-E71252F03E45}">
      <dsp:nvSpPr>
        <dsp:cNvPr id="0" name=""/>
        <dsp:cNvSpPr/>
      </dsp:nvSpPr>
      <dsp:spPr>
        <a:xfrm>
          <a:off x="0" y="889"/>
          <a:ext cx="10880726" cy="606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Creates</a:t>
          </a:r>
          <a:r>
            <a:rPr lang="en-US" sz="2400" kern="1200" baseline="0"/>
            <a:t> a non-terminating error</a:t>
          </a:r>
          <a:endParaRPr lang="en-US" sz="2400" kern="1200"/>
        </a:p>
      </dsp:txBody>
      <dsp:txXfrm>
        <a:off x="0" y="889"/>
        <a:ext cx="10880726" cy="606496"/>
      </dsp:txXfrm>
    </dsp:sp>
    <dsp:sp modelId="{1BC15048-492A-4F3A-859F-A94B25104786}">
      <dsp:nvSpPr>
        <dsp:cNvPr id="0" name=""/>
        <dsp:cNvSpPr/>
      </dsp:nvSpPr>
      <dsp:spPr>
        <a:xfrm>
          <a:off x="0" y="60738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CD1BAF-9DD5-4AFA-A1D7-3487D0FA9113}">
      <dsp:nvSpPr>
        <dsp:cNvPr id="0" name=""/>
        <dsp:cNvSpPr/>
      </dsp:nvSpPr>
      <dsp:spPr>
        <a:xfrm>
          <a:off x="0" y="607385"/>
          <a:ext cx="10880726" cy="606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Stored in </a:t>
          </a:r>
          <a:r>
            <a:rPr lang="en-US" sz="2400" b="1" kern="1200" baseline="0"/>
            <a:t>$Error</a:t>
          </a:r>
          <a:endParaRPr lang="en-US" sz="2400" kern="1200"/>
        </a:p>
      </dsp:txBody>
      <dsp:txXfrm>
        <a:off x="0" y="607385"/>
        <a:ext cx="10880726" cy="606496"/>
      </dsp:txXfrm>
    </dsp:sp>
    <dsp:sp modelId="{0770318A-3C90-442C-9B02-728C49E10490}">
      <dsp:nvSpPr>
        <dsp:cNvPr id="0" name=""/>
        <dsp:cNvSpPr/>
      </dsp:nvSpPr>
      <dsp:spPr>
        <a:xfrm>
          <a:off x="0" y="1213882"/>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F6C363-D0C6-42A2-9776-92552CA75045}">
      <dsp:nvSpPr>
        <dsp:cNvPr id="0" name=""/>
        <dsp:cNvSpPr/>
      </dsp:nvSpPr>
      <dsp:spPr>
        <a:xfrm>
          <a:off x="0" y="1213882"/>
          <a:ext cx="10880726" cy="6064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Used by functions to </a:t>
          </a:r>
          <a:r>
            <a:rPr lang="en-US" sz="2400" b="1" kern="1200" baseline="0"/>
            <a:t>report</a:t>
          </a:r>
          <a:r>
            <a:rPr lang="en-US" sz="2400" kern="1200" baseline="0"/>
            <a:t> errors to caller</a:t>
          </a:r>
          <a:endParaRPr lang="en-US" sz="2400" kern="1200"/>
        </a:p>
      </dsp:txBody>
      <dsp:txXfrm>
        <a:off x="0" y="1213882"/>
        <a:ext cx="10880726" cy="60649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F3BD4-754B-4AFC-AE2F-BAE562A727F3}">
      <dsp:nvSpPr>
        <dsp:cNvPr id="0" name=""/>
        <dsp:cNvSpPr/>
      </dsp:nvSpPr>
      <dsp:spPr>
        <a:xfrm>
          <a:off x="0" y="0"/>
          <a:ext cx="10880725" cy="130703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latin typeface="Segoe UI" panose="020B0502040204020203" pitchFamily="34" charset="0"/>
              <a:cs typeface="Segoe UI Light"/>
            </a:rPr>
            <a:t>Stops</a:t>
          </a:r>
          <a:r>
            <a:rPr lang="en-US" sz="2400" kern="1200">
              <a:latin typeface="Segoe UI" panose="020B0502040204020203" pitchFamily="34" charset="0"/>
              <a:cs typeface="Segoe UI Light"/>
            </a:rPr>
            <a:t> code execution </a:t>
          </a:r>
          <a:r>
            <a:rPr lang="en-US" sz="2400" i="1" kern="1200">
              <a:latin typeface="Segoe UI" panose="020B0502040204020203" pitchFamily="34" charset="0"/>
              <a:cs typeface="Segoe UI Light"/>
            </a:rPr>
            <a:t>(default)</a:t>
          </a:r>
          <a:endParaRPr lang="en-US" sz="2400" kern="1200"/>
        </a:p>
      </dsp:txBody>
      <dsp:txXfrm>
        <a:off x="2306848" y="0"/>
        <a:ext cx="8573876" cy="1307038"/>
      </dsp:txXfrm>
    </dsp:sp>
    <dsp:sp modelId="{B006EEA4-D762-4A96-9E5B-0C903CDEBADF}">
      <dsp:nvSpPr>
        <dsp:cNvPr id="0" name=""/>
        <dsp:cNvSpPr/>
      </dsp:nvSpPr>
      <dsp:spPr>
        <a:xfrm>
          <a:off x="130703" y="130703"/>
          <a:ext cx="2176145" cy="1045630"/>
        </a:xfrm>
        <a:prstGeom prst="roundRect">
          <a:avLst>
            <a:gd name="adj" fmla="val 10000"/>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25975" r="25975"/>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5DFEBCD-D07D-4CAC-9EF6-31708FBF36CB}">
      <dsp:nvSpPr>
        <dsp:cNvPr id="0" name=""/>
        <dsp:cNvSpPr/>
      </dsp:nvSpPr>
      <dsp:spPr>
        <a:xfrm>
          <a:off x="0" y="1437742"/>
          <a:ext cx="10880725" cy="130703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panose="020B0502040204020203" pitchFamily="34" charset="0"/>
              <a:cs typeface="Segoe UI Light"/>
            </a:rPr>
            <a:t>Created with </a:t>
          </a:r>
          <a:r>
            <a:rPr lang="en-US" sz="2400" b="1" kern="1200">
              <a:latin typeface="Segoe UI" panose="020B0502040204020203" pitchFamily="34" charset="0"/>
              <a:cs typeface="Segoe UI Light"/>
            </a:rPr>
            <a:t>throw </a:t>
          </a:r>
          <a:r>
            <a:rPr lang="en-US" sz="2400" b="0" kern="1200">
              <a:latin typeface="Segoe UI" panose="020B0502040204020203" pitchFamily="34" charset="0"/>
              <a:cs typeface="Segoe UI Light"/>
            </a:rPr>
            <a:t>keyword</a:t>
          </a:r>
          <a:endParaRPr lang="en-US" sz="2400" kern="1200">
            <a:latin typeface="Segoe UI" panose="020B0502040204020203" pitchFamily="34" charset="0"/>
            <a:cs typeface="Segoe UI Light"/>
          </a:endParaRPr>
        </a:p>
      </dsp:txBody>
      <dsp:txXfrm>
        <a:off x="2306848" y="1437742"/>
        <a:ext cx="8573876" cy="1307038"/>
      </dsp:txXfrm>
    </dsp:sp>
    <dsp:sp modelId="{C57DA33D-54A4-4722-A459-3A2F41A1E1B6}">
      <dsp:nvSpPr>
        <dsp:cNvPr id="0" name=""/>
        <dsp:cNvSpPr/>
      </dsp:nvSpPr>
      <dsp:spPr>
        <a:xfrm>
          <a:off x="130703" y="1568446"/>
          <a:ext cx="2176145" cy="1045630"/>
        </a:xfrm>
        <a:prstGeom prst="roundRect">
          <a:avLst>
            <a:gd name="adj" fmla="val 10000"/>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25975" r="25975"/>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FB575CE-5A45-4DEB-BD6E-4B78E8091C14}">
      <dsp:nvSpPr>
        <dsp:cNvPr id="0" name=""/>
        <dsp:cNvSpPr/>
      </dsp:nvSpPr>
      <dsp:spPr>
        <a:xfrm>
          <a:off x="0" y="2875484"/>
          <a:ext cx="10880725" cy="130703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panose="020B0502040204020203" pitchFamily="34" charset="0"/>
              <a:cs typeface="Segoe UI Light"/>
            </a:rPr>
            <a:t>Captured by </a:t>
          </a:r>
          <a:r>
            <a:rPr lang="en-US" sz="2400" b="1" kern="1200">
              <a:latin typeface="Segoe UI" panose="020B0502040204020203" pitchFamily="34" charset="0"/>
              <a:cs typeface="Segoe UI Light"/>
            </a:rPr>
            <a:t>$Error</a:t>
          </a:r>
          <a:r>
            <a:rPr lang="en-US" sz="2400" b="0" kern="1200">
              <a:latin typeface="Segoe UI" panose="020B0502040204020203" pitchFamily="34" charset="0"/>
              <a:cs typeface="Segoe UI Light"/>
            </a:rPr>
            <a:t> if code is still running</a:t>
          </a:r>
          <a:endParaRPr lang="en-US" sz="2400" kern="1200">
            <a:latin typeface="Segoe UI" panose="020B0502040204020203" pitchFamily="34" charset="0"/>
            <a:cs typeface="Segoe UI Light"/>
          </a:endParaRPr>
        </a:p>
      </dsp:txBody>
      <dsp:txXfrm>
        <a:off x="2306848" y="2875484"/>
        <a:ext cx="8573876" cy="1307038"/>
      </dsp:txXfrm>
    </dsp:sp>
    <dsp:sp modelId="{79B93C29-30C6-473F-8F96-04E782F61AE8}">
      <dsp:nvSpPr>
        <dsp:cNvPr id="0" name=""/>
        <dsp:cNvSpPr/>
      </dsp:nvSpPr>
      <dsp:spPr>
        <a:xfrm>
          <a:off x="130703" y="3006188"/>
          <a:ext cx="2176145" cy="1045630"/>
        </a:xfrm>
        <a:prstGeom prst="roundRect">
          <a:avLst>
            <a:gd name="adj" fmla="val 10000"/>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975" r="25975"/>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33AD1B1-0185-4816-B078-FD88BF57A7FA}">
      <dsp:nvSpPr>
        <dsp:cNvPr id="0" name=""/>
        <dsp:cNvSpPr/>
      </dsp:nvSpPr>
      <dsp:spPr>
        <a:xfrm>
          <a:off x="0" y="4313226"/>
          <a:ext cx="10880725" cy="130703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Handled with </a:t>
          </a:r>
          <a:r>
            <a:rPr lang="en-US" sz="2400" b="1" kern="1200"/>
            <a:t>Traps</a:t>
          </a:r>
          <a:r>
            <a:rPr lang="en-US" sz="2400" kern="1200"/>
            <a:t> or </a:t>
          </a:r>
          <a:r>
            <a:rPr lang="en-US" sz="2400" b="1" kern="1200"/>
            <a:t>Try/Catch/Finally</a:t>
          </a:r>
        </a:p>
      </dsp:txBody>
      <dsp:txXfrm>
        <a:off x="2306848" y="4313226"/>
        <a:ext cx="8573876" cy="1307038"/>
      </dsp:txXfrm>
    </dsp:sp>
    <dsp:sp modelId="{515E81DD-CC70-4443-AF68-29AB4026182D}">
      <dsp:nvSpPr>
        <dsp:cNvPr id="0" name=""/>
        <dsp:cNvSpPr/>
      </dsp:nvSpPr>
      <dsp:spPr>
        <a:xfrm>
          <a:off x="130703" y="4443930"/>
          <a:ext cx="2176145" cy="1045630"/>
        </a:xfrm>
        <a:prstGeom prst="roundRect">
          <a:avLst>
            <a:gd name="adj" fmla="val 10000"/>
          </a:avLst>
        </a:prstGeom>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25975" r="25975"/>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260EC-A84A-4A73-8B45-51E37FA62D47}">
      <dsp:nvSpPr>
        <dsp:cNvPr id="0" name=""/>
        <dsp:cNvSpPr/>
      </dsp:nvSpPr>
      <dsp:spPr>
        <a:xfrm>
          <a:off x="0" y="1237"/>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433651-55F8-4DBD-8366-0D2115086A8F}">
      <dsp:nvSpPr>
        <dsp:cNvPr id="0" name=""/>
        <dsp:cNvSpPr/>
      </dsp:nvSpPr>
      <dsp:spPr>
        <a:xfrm>
          <a:off x="0" y="1237"/>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Red </a:t>
          </a:r>
          <a:r>
            <a:rPr lang="en-US" sz="2200" b="1" kern="1200"/>
            <a:t>error messages </a:t>
          </a:r>
          <a:r>
            <a:rPr lang="en-US" sz="2200" kern="1200"/>
            <a:t>are displayed </a:t>
          </a:r>
          <a:r>
            <a:rPr lang="en-US" sz="2200" i="1" kern="1200"/>
            <a:t>(default)</a:t>
          </a:r>
          <a:endParaRPr lang="en-US" sz="2200" kern="1200"/>
        </a:p>
      </dsp:txBody>
      <dsp:txXfrm>
        <a:off x="0" y="1237"/>
        <a:ext cx="3329781" cy="844122"/>
      </dsp:txXfrm>
    </dsp:sp>
    <dsp:sp modelId="{0ED334F6-D60B-455D-B24D-F37565B398CD}">
      <dsp:nvSpPr>
        <dsp:cNvPr id="0" name=""/>
        <dsp:cNvSpPr/>
      </dsp:nvSpPr>
      <dsp:spPr>
        <a:xfrm>
          <a:off x="0" y="845359"/>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BCFCFC-D8EE-466F-97E9-208585BAE6B6}">
      <dsp:nvSpPr>
        <dsp:cNvPr id="0" name=""/>
        <dsp:cNvSpPr/>
      </dsp:nvSpPr>
      <dsp:spPr>
        <a:xfrm>
          <a:off x="0" y="845359"/>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Results could be </a:t>
          </a:r>
          <a:r>
            <a:rPr lang="en-US" sz="2200" b="1" kern="1200"/>
            <a:t>unpredictable</a:t>
          </a:r>
        </a:p>
      </dsp:txBody>
      <dsp:txXfrm>
        <a:off x="0" y="845359"/>
        <a:ext cx="3329781" cy="844122"/>
      </dsp:txXfrm>
    </dsp:sp>
    <dsp:sp modelId="{FA946C11-11D9-4BD6-9BEE-EFB81F37ABED}">
      <dsp:nvSpPr>
        <dsp:cNvPr id="0" name=""/>
        <dsp:cNvSpPr/>
      </dsp:nvSpPr>
      <dsp:spPr>
        <a:xfrm>
          <a:off x="0" y="1689482"/>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C27154-B31B-4EE3-9B73-269020324A12}">
      <dsp:nvSpPr>
        <dsp:cNvPr id="0" name=""/>
        <dsp:cNvSpPr/>
      </dsp:nvSpPr>
      <dsp:spPr>
        <a:xfrm>
          <a:off x="0" y="1689482"/>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endParaRPr lang="en-US" sz="2200" kern="1200"/>
        </a:p>
      </dsp:txBody>
      <dsp:txXfrm>
        <a:off x="0" y="1689482"/>
        <a:ext cx="3329781" cy="84412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991E5A-E3BC-45FE-A0AF-732016F0A070}">
      <dsp:nvSpPr>
        <dsp:cNvPr id="0" name=""/>
        <dsp:cNvSpPr/>
      </dsp:nvSpPr>
      <dsp:spPr>
        <a:xfrm>
          <a:off x="0" y="811"/>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C50357-6E7E-440A-8A91-05A4CAE403CA}">
      <dsp:nvSpPr>
        <dsp:cNvPr id="0" name=""/>
        <dsp:cNvSpPr/>
      </dsp:nvSpPr>
      <dsp:spPr>
        <a:xfrm>
          <a:off x="0" y="811"/>
          <a:ext cx="10880726" cy="5535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baseline="0"/>
            <a:t>Generates</a:t>
          </a:r>
          <a:r>
            <a:rPr lang="en-US" sz="2400" kern="1200" baseline="0"/>
            <a:t> a </a:t>
          </a:r>
          <a:r>
            <a:rPr lang="en-US" sz="2400" b="1" kern="1200" baseline="0"/>
            <a:t>terminating</a:t>
          </a:r>
          <a:r>
            <a:rPr lang="en-US" sz="2400" kern="1200" baseline="0"/>
            <a:t> </a:t>
          </a:r>
          <a:r>
            <a:rPr lang="en-US" sz="2400" b="1" kern="1200" baseline="0"/>
            <a:t>error</a:t>
          </a:r>
          <a:r>
            <a:rPr lang="en-US" sz="2400" kern="1200" baseline="0"/>
            <a:t> with a custom message</a:t>
          </a:r>
          <a:endParaRPr lang="en-US" sz="2400" kern="1200"/>
        </a:p>
      </dsp:txBody>
      <dsp:txXfrm>
        <a:off x="0" y="811"/>
        <a:ext cx="10880726" cy="553554"/>
      </dsp:txXfrm>
    </dsp:sp>
    <dsp:sp modelId="{AB4D5F18-7B0A-42F2-ABE8-2F5DD12A4278}">
      <dsp:nvSpPr>
        <dsp:cNvPr id="0" name=""/>
        <dsp:cNvSpPr/>
      </dsp:nvSpPr>
      <dsp:spPr>
        <a:xfrm>
          <a:off x="0" y="554366"/>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D34EE3-BD97-4036-B6B7-78E1269841FC}">
      <dsp:nvSpPr>
        <dsp:cNvPr id="0" name=""/>
        <dsp:cNvSpPr/>
      </dsp:nvSpPr>
      <dsp:spPr>
        <a:xfrm>
          <a:off x="0" y="554366"/>
          <a:ext cx="10880726" cy="5535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Useful to </a:t>
          </a:r>
          <a:r>
            <a:rPr lang="en-US" sz="2400" b="1" kern="1200" baseline="0"/>
            <a:t>halt code </a:t>
          </a:r>
          <a:r>
            <a:rPr lang="en-US" sz="2400" kern="1200" baseline="0"/>
            <a:t>and report errors back to caller for severe issues</a:t>
          </a:r>
        </a:p>
      </dsp:txBody>
      <dsp:txXfrm>
        <a:off x="0" y="554366"/>
        <a:ext cx="10880726" cy="553554"/>
      </dsp:txXfrm>
    </dsp:sp>
    <dsp:sp modelId="{F32AF0DD-17E9-4703-9786-329F7C0B3E45}">
      <dsp:nvSpPr>
        <dsp:cNvPr id="0" name=""/>
        <dsp:cNvSpPr/>
      </dsp:nvSpPr>
      <dsp:spPr>
        <a:xfrm>
          <a:off x="0" y="1107921"/>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04CE22-880B-4F01-9DAB-678CE9FAAE64}">
      <dsp:nvSpPr>
        <dsp:cNvPr id="0" name=""/>
        <dsp:cNvSpPr/>
      </dsp:nvSpPr>
      <dsp:spPr>
        <a:xfrm>
          <a:off x="0" y="1107921"/>
          <a:ext cx="10880726" cy="5535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Can be </a:t>
          </a:r>
          <a:r>
            <a:rPr lang="en-US" sz="2400" b="1" kern="1200" baseline="0"/>
            <a:t>handled</a:t>
          </a:r>
          <a:r>
            <a:rPr lang="en-US" sz="2400" kern="1200" baseline="0"/>
            <a:t> by caller like any other terminating error</a:t>
          </a:r>
        </a:p>
      </dsp:txBody>
      <dsp:txXfrm>
        <a:off x="0" y="1107921"/>
        <a:ext cx="10880726" cy="55355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FC47D7-EE70-4D36-946F-415A04648F88}">
      <dsp:nvSpPr>
        <dsp:cNvPr id="0" name=""/>
        <dsp:cNvSpPr/>
      </dsp:nvSpPr>
      <dsp:spPr>
        <a:xfrm>
          <a:off x="0" y="24239"/>
          <a:ext cx="4217577" cy="655200"/>
        </a:xfrm>
        <a:prstGeom prst="roundRect">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NET has many </a:t>
          </a:r>
          <a:r>
            <a:rPr lang="en-US" sz="2000" b="1" kern="1200"/>
            <a:t>specific</a:t>
          </a:r>
          <a:r>
            <a:rPr lang="en-US" sz="2000" kern="1200"/>
            <a:t> exceptions</a:t>
          </a:r>
        </a:p>
      </dsp:txBody>
      <dsp:txXfrm>
        <a:off x="31984" y="56223"/>
        <a:ext cx="4153609" cy="591232"/>
      </dsp:txXfrm>
    </dsp:sp>
    <dsp:sp modelId="{9595C805-0BF8-4251-B182-54CD3E85B4EC}">
      <dsp:nvSpPr>
        <dsp:cNvPr id="0" name=""/>
        <dsp:cNvSpPr/>
      </dsp:nvSpPr>
      <dsp:spPr>
        <a:xfrm>
          <a:off x="0" y="780239"/>
          <a:ext cx="4217577" cy="655200"/>
        </a:xfrm>
        <a:prstGeom prst="roundRect">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an all be handled </a:t>
          </a:r>
          <a:r>
            <a:rPr lang="en-US" sz="2000" b="1" kern="1200"/>
            <a:t>differently</a:t>
          </a:r>
        </a:p>
      </dsp:txBody>
      <dsp:txXfrm>
        <a:off x="31984" y="812223"/>
        <a:ext cx="4153609" cy="591232"/>
      </dsp:txXfrm>
    </dsp:sp>
    <dsp:sp modelId="{D632DB8B-ACF9-4A32-BD05-437CD3AB8FAC}">
      <dsp:nvSpPr>
        <dsp:cNvPr id="0" name=""/>
        <dsp:cNvSpPr/>
      </dsp:nvSpPr>
      <dsp:spPr>
        <a:xfrm>
          <a:off x="0" y="1536239"/>
          <a:ext cx="4217577" cy="655200"/>
        </a:xfrm>
        <a:prstGeom prst="roundRect">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Exception </a:t>
          </a:r>
          <a:r>
            <a:rPr lang="en-US" sz="2000" b="1" kern="1200"/>
            <a:t>type</a:t>
          </a:r>
          <a:r>
            <a:rPr lang="en-US" sz="2000" kern="1200"/>
            <a:t> can be found</a:t>
          </a:r>
        </a:p>
      </dsp:txBody>
      <dsp:txXfrm>
        <a:off x="31984" y="1568223"/>
        <a:ext cx="4153609" cy="591232"/>
      </dsp:txXfrm>
    </dsp:sp>
    <dsp:sp modelId="{8984CE67-1EDE-4296-AA3A-E75AC1661187}">
      <dsp:nvSpPr>
        <dsp:cNvPr id="0" name=""/>
        <dsp:cNvSpPr/>
      </dsp:nvSpPr>
      <dsp:spPr>
        <a:xfrm>
          <a:off x="0" y="2191439"/>
          <a:ext cx="4217577"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90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Error[0].</a:t>
          </a:r>
          <a:r>
            <a:rPr lang="en-US" sz="2000" kern="1200" err="1"/>
            <a:t>Exception.FullName</a:t>
          </a:r>
          <a:endParaRPr lang="en-US" sz="2000" kern="1200"/>
        </a:p>
      </dsp:txBody>
      <dsp:txXfrm>
        <a:off x="0" y="2191439"/>
        <a:ext cx="4217577" cy="579600"/>
      </dsp:txXfrm>
    </dsp:sp>
    <dsp:sp modelId="{175D1DF5-6E2A-4469-9503-94D0A29D8DB0}">
      <dsp:nvSpPr>
        <dsp:cNvPr id="0" name=""/>
        <dsp:cNvSpPr/>
      </dsp:nvSpPr>
      <dsp:spPr>
        <a:xfrm>
          <a:off x="0" y="2771039"/>
          <a:ext cx="4217577" cy="655200"/>
        </a:xfrm>
        <a:prstGeom prst="roundRect">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ome </a:t>
          </a:r>
          <a:r>
            <a:rPr lang="en-US" sz="2000" b="1" kern="1200"/>
            <a:t>common</a:t>
          </a:r>
          <a:r>
            <a:rPr lang="en-US" sz="2000" kern="1200"/>
            <a:t> exceptions:</a:t>
          </a:r>
        </a:p>
      </dsp:txBody>
      <dsp:txXfrm>
        <a:off x="31984" y="2803023"/>
        <a:ext cx="4153609" cy="591232"/>
      </dsp:txXfrm>
    </dsp:sp>
    <dsp:sp modelId="{C0F5EB65-2DB4-46DC-91B3-CA919900BC75}">
      <dsp:nvSpPr>
        <dsp:cNvPr id="0" name=""/>
        <dsp:cNvSpPr/>
      </dsp:nvSpPr>
      <dsp:spPr>
        <a:xfrm>
          <a:off x="0" y="3426239"/>
          <a:ext cx="4217577" cy="23908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908"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err="1"/>
            <a:t>SystemException</a:t>
          </a:r>
          <a:endParaRPr lang="en-US" sz="1800" kern="1200"/>
        </a:p>
        <a:p>
          <a:pPr marL="171450" lvl="1" indent="-171450" algn="l" defTabSz="800100">
            <a:lnSpc>
              <a:spcPct val="90000"/>
            </a:lnSpc>
            <a:spcBef>
              <a:spcPct val="0"/>
            </a:spcBef>
            <a:spcAft>
              <a:spcPct val="20000"/>
            </a:spcAft>
            <a:buChar char="•"/>
          </a:pPr>
          <a:r>
            <a:rPr lang="en-US" sz="1800" kern="1200" err="1"/>
            <a:t>IndexOutOfRangeException</a:t>
          </a:r>
          <a:endParaRPr lang="en-US" sz="1800" kern="1200"/>
        </a:p>
        <a:p>
          <a:pPr marL="171450" lvl="1" indent="-171450" algn="l" defTabSz="800100">
            <a:lnSpc>
              <a:spcPct val="90000"/>
            </a:lnSpc>
            <a:spcBef>
              <a:spcPct val="0"/>
            </a:spcBef>
            <a:spcAft>
              <a:spcPct val="20000"/>
            </a:spcAft>
            <a:buChar char="•"/>
          </a:pPr>
          <a:r>
            <a:rPr lang="en-US" sz="1800" kern="1200"/>
            <a:t>NullReferenceException</a:t>
          </a:r>
        </a:p>
        <a:p>
          <a:pPr marL="171450" lvl="1" indent="-171450" algn="l" defTabSz="800100">
            <a:lnSpc>
              <a:spcPct val="90000"/>
            </a:lnSpc>
            <a:spcBef>
              <a:spcPct val="0"/>
            </a:spcBef>
            <a:spcAft>
              <a:spcPct val="20000"/>
            </a:spcAft>
            <a:buChar char="•"/>
          </a:pPr>
          <a:r>
            <a:rPr lang="en-US" sz="1800" kern="1200" err="1"/>
            <a:t>InvalidOperationException</a:t>
          </a:r>
          <a:endParaRPr lang="en-US" sz="1800" kern="1200"/>
        </a:p>
        <a:p>
          <a:pPr marL="171450" lvl="1" indent="-171450" algn="l" defTabSz="800100">
            <a:lnSpc>
              <a:spcPct val="90000"/>
            </a:lnSpc>
            <a:spcBef>
              <a:spcPct val="0"/>
            </a:spcBef>
            <a:spcAft>
              <a:spcPct val="20000"/>
            </a:spcAft>
            <a:buChar char="•"/>
          </a:pPr>
          <a:r>
            <a:rPr lang="en-US" sz="1800" kern="1200"/>
            <a:t>ArgumentException</a:t>
          </a:r>
        </a:p>
        <a:p>
          <a:pPr marL="171450" lvl="1" indent="-171450" algn="l" defTabSz="800100">
            <a:lnSpc>
              <a:spcPct val="90000"/>
            </a:lnSpc>
            <a:spcBef>
              <a:spcPct val="0"/>
            </a:spcBef>
            <a:spcAft>
              <a:spcPct val="20000"/>
            </a:spcAft>
            <a:buChar char="•"/>
          </a:pPr>
          <a:r>
            <a:rPr lang="en-US" sz="1800" kern="1200" err="1"/>
            <a:t>ArgumentNullException</a:t>
          </a:r>
          <a:endParaRPr lang="en-US" sz="1800" kern="1200"/>
        </a:p>
        <a:p>
          <a:pPr marL="171450" lvl="1" indent="-171450" algn="l" defTabSz="800100">
            <a:lnSpc>
              <a:spcPct val="90000"/>
            </a:lnSpc>
            <a:spcBef>
              <a:spcPct val="0"/>
            </a:spcBef>
            <a:spcAft>
              <a:spcPct val="20000"/>
            </a:spcAft>
            <a:buChar char="•"/>
          </a:pPr>
          <a:r>
            <a:rPr lang="en-US" sz="1800" kern="1200" err="1"/>
            <a:t>DivideByZeroException</a:t>
          </a:r>
          <a:endParaRPr lang="en-US" sz="1800" kern="1200"/>
        </a:p>
      </dsp:txBody>
      <dsp:txXfrm>
        <a:off x="0" y="3426239"/>
        <a:ext cx="4217577" cy="2390849"/>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A12C17-EC0E-46D8-865F-F3EB1F3B3BC4}">
      <dsp:nvSpPr>
        <dsp:cNvPr id="0" name=""/>
        <dsp:cNvSpPr/>
      </dsp:nvSpPr>
      <dsp:spPr>
        <a:xfrm>
          <a:off x="0" y="809147"/>
          <a:ext cx="10880726" cy="19687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US" sz="2500" i="0" kern="1200"/>
            <a:t>Simple way to ensure all terminating errors are handled</a:t>
          </a:r>
        </a:p>
        <a:p>
          <a:pPr marL="228600" lvl="1" indent="-228600" algn="l" defTabSz="1111250">
            <a:lnSpc>
              <a:spcPct val="90000"/>
            </a:lnSpc>
            <a:spcBef>
              <a:spcPct val="0"/>
            </a:spcBef>
            <a:spcAft>
              <a:spcPct val="15000"/>
            </a:spcAft>
            <a:buChar char="•"/>
          </a:pPr>
          <a:r>
            <a:rPr lang="en-US" sz="2500" i="0" kern="1200"/>
            <a:t>Can also handle specific terminating error exception types</a:t>
          </a:r>
        </a:p>
        <a:p>
          <a:pPr marL="228600" lvl="1" indent="-228600" algn="l" defTabSz="1111250">
            <a:lnSpc>
              <a:spcPct val="90000"/>
            </a:lnSpc>
            <a:spcBef>
              <a:spcPct val="0"/>
            </a:spcBef>
            <a:spcAft>
              <a:spcPct val="15000"/>
            </a:spcAft>
            <a:buChar char="•"/>
          </a:pPr>
          <a:r>
            <a:rPr lang="en-US" sz="2500" kern="1200">
              <a:latin typeface="Segoe UI" panose="020B0502040204020203" pitchFamily="34" charset="0"/>
              <a:cs typeface="Segoe UI Light"/>
            </a:rPr>
            <a:t>Multiple </a:t>
          </a:r>
          <a:r>
            <a:rPr lang="en-US" sz="2500" b="1" kern="1200">
              <a:latin typeface="Segoe UI" panose="020B0502040204020203" pitchFamily="34" charset="0"/>
              <a:cs typeface="Segoe UI Light"/>
            </a:rPr>
            <a:t>trap { } </a:t>
          </a:r>
          <a:r>
            <a:rPr lang="en-US" sz="2500" b="0" kern="1200">
              <a:latin typeface="Segoe UI" panose="020B0502040204020203" pitchFamily="34" charset="0"/>
              <a:cs typeface="Segoe UI Light"/>
            </a:rPr>
            <a:t>blocks may be defined</a:t>
          </a:r>
          <a:endParaRPr lang="en-US" sz="2500" kern="1200">
            <a:latin typeface="Segoe UI" panose="020B0502040204020203" pitchFamily="34" charset="0"/>
            <a:cs typeface="Segoe UI Light"/>
          </a:endParaRPr>
        </a:p>
      </dsp:txBody>
      <dsp:txXfrm>
        <a:off x="0" y="809147"/>
        <a:ext cx="10880726" cy="1968750"/>
      </dsp:txXfrm>
    </dsp:sp>
    <dsp:sp modelId="{18908422-52C7-4763-A1E3-9EBBF766EA6C}">
      <dsp:nvSpPr>
        <dsp:cNvPr id="0" name=""/>
        <dsp:cNvSpPr/>
      </dsp:nvSpPr>
      <dsp:spPr>
        <a:xfrm>
          <a:off x="544036" y="440147"/>
          <a:ext cx="7616508" cy="738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US" sz="2500" kern="1200">
              <a:latin typeface="Segoe UI" panose="020B0502040204020203" pitchFamily="34" charset="0"/>
              <a:cs typeface="Segoe UI Light"/>
            </a:rPr>
            <a:t>Code block to run when terminating error occurs</a:t>
          </a:r>
          <a:endParaRPr lang="en-US" sz="2500" kern="1200"/>
        </a:p>
      </dsp:txBody>
      <dsp:txXfrm>
        <a:off x="580062" y="476173"/>
        <a:ext cx="7544456" cy="665948"/>
      </dsp:txXfrm>
    </dsp:sp>
    <dsp:sp modelId="{96F16382-A0A0-48A6-9A21-D376A0191379}">
      <dsp:nvSpPr>
        <dsp:cNvPr id="0" name=""/>
        <dsp:cNvSpPr/>
      </dsp:nvSpPr>
      <dsp:spPr>
        <a:xfrm>
          <a:off x="0" y="3281897"/>
          <a:ext cx="10880726" cy="19687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US" sz="2500" b="0" i="1" kern="1200">
              <a:latin typeface="+mn-lt"/>
              <a:cs typeface="Segoe UI Light"/>
            </a:rPr>
            <a:t>(default) </a:t>
          </a:r>
          <a:r>
            <a:rPr lang="en-US" sz="2500" b="0" i="0" kern="1200">
              <a:latin typeface="+mn-lt"/>
              <a:cs typeface="Segoe UI Light"/>
            </a:rPr>
            <a:t>Display error message; continue rest of code</a:t>
          </a:r>
          <a:endParaRPr lang="en-US" sz="2500" b="0" kern="1200">
            <a:latin typeface="+mn-lt"/>
          </a:endParaRPr>
        </a:p>
        <a:p>
          <a:pPr marL="228600" lvl="1" indent="-228600" algn="l" defTabSz="1111250">
            <a:lnSpc>
              <a:spcPct val="90000"/>
            </a:lnSpc>
            <a:spcBef>
              <a:spcPct val="0"/>
            </a:spcBef>
            <a:spcAft>
              <a:spcPct val="15000"/>
            </a:spcAft>
            <a:buChar char="•"/>
          </a:pPr>
          <a:r>
            <a:rPr lang="en-US" sz="2500" b="1" kern="1200">
              <a:latin typeface="+mn-lt"/>
            </a:rPr>
            <a:t>Break</a:t>
          </a:r>
          <a:r>
            <a:rPr lang="en-US" sz="2500" b="0" kern="1200">
              <a:latin typeface="+mn-lt"/>
            </a:rPr>
            <a:t> – Show error; stop code execution</a:t>
          </a:r>
          <a:endParaRPr lang="en-US" sz="2500" b="1" kern="1200">
            <a:latin typeface="+mn-lt"/>
          </a:endParaRPr>
        </a:p>
        <a:p>
          <a:pPr marL="228600" lvl="1" indent="-228600" algn="l" defTabSz="1111250">
            <a:lnSpc>
              <a:spcPct val="90000"/>
            </a:lnSpc>
            <a:spcBef>
              <a:spcPct val="0"/>
            </a:spcBef>
            <a:spcAft>
              <a:spcPct val="15000"/>
            </a:spcAft>
            <a:buChar char="•"/>
          </a:pPr>
          <a:r>
            <a:rPr lang="en-US" sz="2500" b="1" kern="1200">
              <a:latin typeface="+mn-lt"/>
            </a:rPr>
            <a:t>Continue </a:t>
          </a:r>
          <a:r>
            <a:rPr lang="en-US" sz="2500" b="0" kern="1200">
              <a:latin typeface="+mn-lt"/>
            </a:rPr>
            <a:t>– Hide error; continue rest of code</a:t>
          </a:r>
          <a:endParaRPr lang="en-US" sz="2500" b="1" kern="1200">
            <a:latin typeface="+mn-lt"/>
          </a:endParaRPr>
        </a:p>
      </dsp:txBody>
      <dsp:txXfrm>
        <a:off x="0" y="3281897"/>
        <a:ext cx="10880726" cy="1968750"/>
      </dsp:txXfrm>
    </dsp:sp>
    <dsp:sp modelId="{1DC53310-B5DA-4695-9569-31555EBDBBD7}">
      <dsp:nvSpPr>
        <dsp:cNvPr id="0" name=""/>
        <dsp:cNvSpPr/>
      </dsp:nvSpPr>
      <dsp:spPr>
        <a:xfrm>
          <a:off x="544036" y="2912897"/>
          <a:ext cx="7616508" cy="738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US" sz="2500" kern="1200">
              <a:latin typeface="Segoe UI" panose="020B0502040204020203" pitchFamily="34" charset="0"/>
              <a:cs typeface="Segoe UI Light"/>
            </a:rPr>
            <a:t>Behavior of </a:t>
          </a:r>
          <a:r>
            <a:rPr lang="en-US" sz="2500" b="1" kern="1200">
              <a:latin typeface="Segoe UI" panose="020B0502040204020203" pitchFamily="34" charset="0"/>
              <a:cs typeface="Segoe UI Light"/>
            </a:rPr>
            <a:t>trap { }</a:t>
          </a:r>
        </a:p>
      </dsp:txBody>
      <dsp:txXfrm>
        <a:off x="580062" y="2948923"/>
        <a:ext cx="7544456" cy="66594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A12C17-EC0E-46D8-865F-F3EB1F3B3BC4}">
      <dsp:nvSpPr>
        <dsp:cNvPr id="0" name=""/>
        <dsp:cNvSpPr/>
      </dsp:nvSpPr>
      <dsp:spPr>
        <a:xfrm>
          <a:off x="0" y="809147"/>
          <a:ext cx="10880726" cy="19687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US" sz="2500" i="0" kern="1200" dirty="0"/>
            <a:t>Simple way to ensure </a:t>
          </a:r>
          <a:r>
            <a:rPr lang="en-US" sz="2500" b="1" i="0" kern="1200" dirty="0"/>
            <a:t>all</a:t>
          </a:r>
          <a:r>
            <a:rPr lang="en-US" sz="2500" i="0" kern="1200" dirty="0"/>
            <a:t> terminating errors are handled</a:t>
          </a:r>
        </a:p>
        <a:p>
          <a:pPr marL="228600" lvl="1" indent="-228600" algn="l" defTabSz="1111250">
            <a:lnSpc>
              <a:spcPct val="90000"/>
            </a:lnSpc>
            <a:spcBef>
              <a:spcPct val="0"/>
            </a:spcBef>
            <a:spcAft>
              <a:spcPct val="15000"/>
            </a:spcAft>
            <a:buChar char="•"/>
          </a:pPr>
          <a:r>
            <a:rPr lang="en-US" sz="2500" i="0" kern="1200" dirty="0"/>
            <a:t>Can handle </a:t>
          </a:r>
          <a:r>
            <a:rPr lang="en-US" sz="2500" b="1" i="0" kern="1200" dirty="0"/>
            <a:t>specific</a:t>
          </a:r>
          <a:r>
            <a:rPr lang="en-US" sz="2500" i="0" kern="1200" dirty="0"/>
            <a:t> exception types</a:t>
          </a:r>
        </a:p>
        <a:p>
          <a:pPr marL="228600" lvl="1" indent="-228600" algn="l" defTabSz="1111250">
            <a:lnSpc>
              <a:spcPct val="90000"/>
            </a:lnSpc>
            <a:spcBef>
              <a:spcPct val="0"/>
            </a:spcBef>
            <a:spcAft>
              <a:spcPct val="15000"/>
            </a:spcAft>
            <a:buChar char="•"/>
          </a:pPr>
          <a:r>
            <a:rPr lang="en-US" sz="2500" kern="1200" dirty="0">
              <a:latin typeface="Segoe UI" panose="020B0502040204020203" pitchFamily="34" charset="0"/>
              <a:cs typeface="Segoe UI Light"/>
            </a:rPr>
            <a:t>Multiple </a:t>
          </a:r>
          <a:r>
            <a:rPr lang="en-US" sz="2500" b="1" kern="1200" dirty="0">
              <a:latin typeface="Segoe UI" panose="020B0502040204020203" pitchFamily="34" charset="0"/>
              <a:cs typeface="Segoe UI Light"/>
            </a:rPr>
            <a:t>trap { } </a:t>
          </a:r>
          <a:r>
            <a:rPr lang="en-US" sz="2500" b="0" kern="1200" dirty="0">
              <a:latin typeface="Segoe UI" panose="020B0502040204020203" pitchFamily="34" charset="0"/>
              <a:cs typeface="Segoe UI Light"/>
            </a:rPr>
            <a:t>blocks may be defined </a:t>
          </a:r>
          <a:endParaRPr lang="en-US" sz="2500" kern="1200" dirty="0">
            <a:latin typeface="Segoe UI" panose="020B0502040204020203" pitchFamily="34" charset="0"/>
            <a:cs typeface="Segoe UI Light"/>
          </a:endParaRPr>
        </a:p>
      </dsp:txBody>
      <dsp:txXfrm>
        <a:off x="0" y="809147"/>
        <a:ext cx="10880726" cy="1968750"/>
      </dsp:txXfrm>
    </dsp:sp>
    <dsp:sp modelId="{18908422-52C7-4763-A1E3-9EBBF766EA6C}">
      <dsp:nvSpPr>
        <dsp:cNvPr id="0" name=""/>
        <dsp:cNvSpPr/>
      </dsp:nvSpPr>
      <dsp:spPr>
        <a:xfrm>
          <a:off x="544036" y="440147"/>
          <a:ext cx="7616508" cy="738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US" sz="2500" kern="1200">
              <a:latin typeface="Segoe UI" panose="020B0502040204020203" pitchFamily="34" charset="0"/>
              <a:cs typeface="Segoe UI Light"/>
            </a:rPr>
            <a:t>Code block to run when terminating error occurs</a:t>
          </a:r>
          <a:endParaRPr lang="en-US" sz="2500" kern="1200"/>
        </a:p>
      </dsp:txBody>
      <dsp:txXfrm>
        <a:off x="580062" y="476173"/>
        <a:ext cx="7544456" cy="665948"/>
      </dsp:txXfrm>
    </dsp:sp>
    <dsp:sp modelId="{96F16382-A0A0-48A6-9A21-D376A0191379}">
      <dsp:nvSpPr>
        <dsp:cNvPr id="0" name=""/>
        <dsp:cNvSpPr/>
      </dsp:nvSpPr>
      <dsp:spPr>
        <a:xfrm>
          <a:off x="0" y="3281897"/>
          <a:ext cx="10880726" cy="19687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US" sz="2500" b="1" i="0" kern="1200" dirty="0">
              <a:latin typeface="+mn-lt"/>
              <a:cs typeface="Segoe UI Light"/>
            </a:rPr>
            <a:t>Default</a:t>
          </a:r>
          <a:r>
            <a:rPr lang="en-US" sz="2500" b="1" i="1" kern="1200" dirty="0">
              <a:latin typeface="+mn-lt"/>
              <a:cs typeface="Segoe UI Light"/>
            </a:rPr>
            <a:t> </a:t>
          </a:r>
          <a:r>
            <a:rPr lang="en-US" sz="2500" b="0" i="1" kern="1200" dirty="0">
              <a:latin typeface="+mn-lt"/>
              <a:cs typeface="Segoe UI Light"/>
            </a:rPr>
            <a:t>–</a:t>
          </a:r>
          <a:r>
            <a:rPr lang="en-US" sz="2500" b="1" i="1" kern="1200" dirty="0">
              <a:latin typeface="+mn-lt"/>
              <a:cs typeface="Segoe UI Light"/>
            </a:rPr>
            <a:t> </a:t>
          </a:r>
          <a:r>
            <a:rPr lang="en-US" sz="2500" b="1" i="0" kern="1200" dirty="0">
              <a:latin typeface="+mn-lt"/>
              <a:cs typeface="Segoe UI Light"/>
            </a:rPr>
            <a:t>Display</a:t>
          </a:r>
          <a:r>
            <a:rPr lang="en-US" sz="2500" b="0" i="0" kern="1200" dirty="0">
              <a:latin typeface="+mn-lt"/>
              <a:cs typeface="Segoe UI Light"/>
            </a:rPr>
            <a:t> message then </a:t>
          </a:r>
          <a:r>
            <a:rPr lang="en-US" sz="2500" b="1" i="0" kern="1200" dirty="0">
              <a:latin typeface="+mn-lt"/>
              <a:cs typeface="Segoe UI Light"/>
            </a:rPr>
            <a:t>continue</a:t>
          </a:r>
          <a:r>
            <a:rPr lang="en-US" sz="2500" b="0" i="0" kern="1200" dirty="0">
              <a:latin typeface="+mn-lt"/>
              <a:cs typeface="Segoe UI Light"/>
            </a:rPr>
            <a:t> execution</a:t>
          </a:r>
          <a:endParaRPr lang="en-US" sz="2500" b="0" kern="1200" dirty="0">
            <a:latin typeface="+mn-lt"/>
          </a:endParaRPr>
        </a:p>
        <a:p>
          <a:pPr marL="228600" lvl="1" indent="-228600" algn="l" defTabSz="1111250">
            <a:lnSpc>
              <a:spcPct val="90000"/>
            </a:lnSpc>
            <a:spcBef>
              <a:spcPct val="0"/>
            </a:spcBef>
            <a:spcAft>
              <a:spcPct val="15000"/>
            </a:spcAft>
            <a:buChar char="•"/>
          </a:pPr>
          <a:r>
            <a:rPr lang="en-US" sz="2500" b="1" kern="1200" dirty="0">
              <a:latin typeface="+mn-lt"/>
            </a:rPr>
            <a:t>Break</a:t>
          </a:r>
          <a:r>
            <a:rPr lang="en-US" sz="2500" b="0" kern="1200" dirty="0">
              <a:latin typeface="+mn-lt"/>
            </a:rPr>
            <a:t> – </a:t>
          </a:r>
          <a:r>
            <a:rPr lang="en-US" sz="2500" b="1" i="0" kern="1200" dirty="0">
              <a:latin typeface="+mn-lt"/>
              <a:cs typeface="Segoe UI Light"/>
            </a:rPr>
            <a:t>Display</a:t>
          </a:r>
          <a:r>
            <a:rPr lang="en-US" sz="2500" b="0" kern="1200" dirty="0">
              <a:latin typeface="+mn-lt"/>
            </a:rPr>
            <a:t> </a:t>
          </a:r>
          <a:r>
            <a:rPr lang="en-US" sz="2500" b="0" i="0" kern="1200" dirty="0">
              <a:latin typeface="+mn-lt"/>
              <a:cs typeface="Segoe UI Light"/>
            </a:rPr>
            <a:t>message then</a:t>
          </a:r>
          <a:r>
            <a:rPr lang="en-US" sz="2500" b="0" kern="1200" dirty="0">
              <a:latin typeface="+mn-lt"/>
            </a:rPr>
            <a:t> </a:t>
          </a:r>
          <a:r>
            <a:rPr lang="en-US" sz="2500" b="1" kern="1200" dirty="0">
              <a:latin typeface="+mn-lt"/>
            </a:rPr>
            <a:t>stop</a:t>
          </a:r>
          <a:r>
            <a:rPr lang="en-US" sz="2500" b="0" kern="1200" dirty="0">
              <a:latin typeface="+mn-lt"/>
            </a:rPr>
            <a:t> execution</a:t>
          </a:r>
          <a:endParaRPr lang="en-US" sz="2500" b="1" kern="1200" dirty="0">
            <a:latin typeface="+mn-lt"/>
          </a:endParaRPr>
        </a:p>
        <a:p>
          <a:pPr marL="228600" lvl="1" indent="-228600" algn="l" defTabSz="1111250">
            <a:lnSpc>
              <a:spcPct val="90000"/>
            </a:lnSpc>
            <a:spcBef>
              <a:spcPct val="0"/>
            </a:spcBef>
            <a:spcAft>
              <a:spcPct val="15000"/>
            </a:spcAft>
            <a:buChar char="•"/>
          </a:pPr>
          <a:r>
            <a:rPr lang="en-US" sz="2500" b="1" kern="1200" dirty="0">
              <a:latin typeface="+mn-lt"/>
            </a:rPr>
            <a:t>Continue </a:t>
          </a:r>
          <a:r>
            <a:rPr lang="en-US" sz="2500" b="0" kern="1200" dirty="0">
              <a:latin typeface="+mn-lt"/>
            </a:rPr>
            <a:t>– </a:t>
          </a:r>
          <a:r>
            <a:rPr lang="en-US" sz="2500" b="1" kern="1200" dirty="0">
              <a:latin typeface="+mn-lt"/>
            </a:rPr>
            <a:t>Hide</a:t>
          </a:r>
          <a:r>
            <a:rPr lang="en-US" sz="2500" b="0" kern="1200" dirty="0">
              <a:latin typeface="+mn-lt"/>
            </a:rPr>
            <a:t> </a:t>
          </a:r>
          <a:r>
            <a:rPr lang="en-US" sz="2500" b="0" i="0" kern="1200" dirty="0">
              <a:latin typeface="+mn-lt"/>
              <a:cs typeface="Segoe UI Light"/>
            </a:rPr>
            <a:t>message then</a:t>
          </a:r>
          <a:r>
            <a:rPr lang="en-US" sz="2500" b="0" kern="1200" dirty="0">
              <a:latin typeface="+mn-lt"/>
            </a:rPr>
            <a:t> </a:t>
          </a:r>
          <a:r>
            <a:rPr lang="en-US" sz="2500" b="1" kern="1200" dirty="0">
              <a:latin typeface="+mn-lt"/>
            </a:rPr>
            <a:t>continue</a:t>
          </a:r>
          <a:r>
            <a:rPr lang="en-US" sz="2500" b="0" kern="1200" dirty="0">
              <a:latin typeface="+mn-lt"/>
            </a:rPr>
            <a:t> execution</a:t>
          </a:r>
          <a:endParaRPr lang="en-US" sz="2500" b="1" kern="1200" dirty="0">
            <a:latin typeface="+mn-lt"/>
          </a:endParaRPr>
        </a:p>
      </dsp:txBody>
      <dsp:txXfrm>
        <a:off x="0" y="3281897"/>
        <a:ext cx="10880726" cy="1968750"/>
      </dsp:txXfrm>
    </dsp:sp>
    <dsp:sp modelId="{1DC53310-B5DA-4695-9569-31555EBDBBD7}">
      <dsp:nvSpPr>
        <dsp:cNvPr id="0" name=""/>
        <dsp:cNvSpPr/>
      </dsp:nvSpPr>
      <dsp:spPr>
        <a:xfrm>
          <a:off x="544036" y="2912897"/>
          <a:ext cx="7616508" cy="738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US" sz="2500" kern="1200">
              <a:latin typeface="Segoe UI" panose="020B0502040204020203" pitchFamily="34" charset="0"/>
              <a:cs typeface="Segoe UI Light"/>
            </a:rPr>
            <a:t>Behavior of </a:t>
          </a:r>
          <a:r>
            <a:rPr lang="en-US" sz="2500" b="1" kern="1200">
              <a:latin typeface="Segoe UI" panose="020B0502040204020203" pitchFamily="34" charset="0"/>
              <a:cs typeface="Segoe UI Light"/>
            </a:rPr>
            <a:t>trap { }</a:t>
          </a:r>
        </a:p>
      </dsp:txBody>
      <dsp:txXfrm>
        <a:off x="580062" y="2948923"/>
        <a:ext cx="7544456" cy="665948"/>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3F5D5-11A7-4EBD-AB2A-32B587777418}">
      <dsp:nvSpPr>
        <dsp:cNvPr id="0" name=""/>
        <dsp:cNvSpPr/>
      </dsp:nvSpPr>
      <dsp:spPr>
        <a:xfrm>
          <a:off x="0" y="0"/>
          <a:ext cx="10880725" cy="64067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a:latin typeface="Segoe UI" panose="020B0502040204020203" pitchFamily="34" charset="0"/>
              <a:cs typeface="Segoe UI Light"/>
            </a:rPr>
            <a:t>try { }</a:t>
          </a:r>
          <a:endParaRPr lang="en-US" sz="2800" b="1" kern="1200"/>
        </a:p>
      </dsp:txBody>
      <dsp:txXfrm>
        <a:off x="31275" y="31275"/>
        <a:ext cx="10818175" cy="578120"/>
      </dsp:txXfrm>
    </dsp:sp>
    <dsp:sp modelId="{7AF8DD4D-1DF9-4453-B18B-6722014DB2E3}">
      <dsp:nvSpPr>
        <dsp:cNvPr id="0" name=""/>
        <dsp:cNvSpPr/>
      </dsp:nvSpPr>
      <dsp:spPr>
        <a:xfrm>
          <a:off x="0" y="736472"/>
          <a:ext cx="10880725" cy="1288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i="0" kern="1200"/>
            <a:t>Creates code block to check for terminating errors</a:t>
          </a:r>
        </a:p>
        <a:p>
          <a:pPr marL="228600" lvl="1" indent="-228600" algn="l" defTabSz="889000">
            <a:lnSpc>
              <a:spcPct val="90000"/>
            </a:lnSpc>
            <a:spcBef>
              <a:spcPct val="0"/>
            </a:spcBef>
            <a:spcAft>
              <a:spcPct val="20000"/>
            </a:spcAft>
            <a:buChar char="•"/>
          </a:pPr>
          <a:r>
            <a:rPr lang="en-US" sz="2000" i="0" kern="1200"/>
            <a:t>Required to handle terminating errors</a:t>
          </a:r>
        </a:p>
        <a:p>
          <a:pPr marL="228600" lvl="1" indent="-228600" algn="l" defTabSz="889000">
            <a:lnSpc>
              <a:spcPct val="90000"/>
            </a:lnSpc>
            <a:spcBef>
              <a:spcPct val="0"/>
            </a:spcBef>
            <a:spcAft>
              <a:spcPct val="20000"/>
            </a:spcAft>
            <a:buChar char="•"/>
          </a:pPr>
          <a:r>
            <a:rPr lang="en-US" sz="2000" b="0" kern="1200"/>
            <a:t>Must also have at least one </a:t>
          </a:r>
          <a:r>
            <a:rPr lang="en-US" sz="2000" b="1" kern="1200"/>
            <a:t>catch {} </a:t>
          </a:r>
          <a:r>
            <a:rPr lang="en-US" sz="2000" b="0" kern="1200"/>
            <a:t>OR </a:t>
          </a:r>
          <a:r>
            <a:rPr lang="en-US" sz="2000" b="1" kern="1200"/>
            <a:t>finally {}</a:t>
          </a:r>
          <a:r>
            <a:rPr lang="en-US" sz="2000" b="0" kern="1200"/>
            <a:t> block</a:t>
          </a:r>
          <a:endParaRPr lang="en-US" sz="2000" i="0" kern="1200"/>
        </a:p>
        <a:p>
          <a:pPr marL="228600" lvl="1" indent="-228600" algn="l" defTabSz="889000">
            <a:lnSpc>
              <a:spcPct val="90000"/>
            </a:lnSpc>
            <a:spcBef>
              <a:spcPct val="0"/>
            </a:spcBef>
            <a:spcAft>
              <a:spcPct val="20000"/>
            </a:spcAft>
            <a:buChar char="•"/>
          </a:pPr>
          <a:endParaRPr lang="en-US" sz="2000" i="0" kern="1200"/>
        </a:p>
        <a:p>
          <a:pPr marL="228600" lvl="1" indent="-228600" algn="l" defTabSz="889000">
            <a:lnSpc>
              <a:spcPct val="90000"/>
            </a:lnSpc>
            <a:spcBef>
              <a:spcPct val="0"/>
            </a:spcBef>
            <a:spcAft>
              <a:spcPct val="20000"/>
            </a:spcAft>
            <a:buChar char="•"/>
          </a:pPr>
          <a:endParaRPr lang="en-US" sz="2000" i="0" kern="1200"/>
        </a:p>
      </dsp:txBody>
      <dsp:txXfrm>
        <a:off x="0" y="736472"/>
        <a:ext cx="10880725" cy="1288271"/>
      </dsp:txXfrm>
    </dsp:sp>
    <dsp:sp modelId="{4629E081-81D2-4582-A2BA-742FDD6A68FE}">
      <dsp:nvSpPr>
        <dsp:cNvPr id="0" name=""/>
        <dsp:cNvSpPr/>
      </dsp:nvSpPr>
      <dsp:spPr>
        <a:xfrm>
          <a:off x="0" y="1953734"/>
          <a:ext cx="10880725" cy="59417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a:latin typeface="Segoe UI" panose="020B0502040204020203" pitchFamily="34" charset="0"/>
              <a:cs typeface="Segoe UI Light"/>
            </a:rPr>
            <a:t>catch { }</a:t>
          </a:r>
        </a:p>
      </dsp:txBody>
      <dsp:txXfrm>
        <a:off x="29005" y="1982739"/>
        <a:ext cx="10822715" cy="536160"/>
      </dsp:txXfrm>
    </dsp:sp>
    <dsp:sp modelId="{00CCB998-6F0D-472D-B2FF-CA60FBDBEED4}">
      <dsp:nvSpPr>
        <dsp:cNvPr id="0" name=""/>
        <dsp:cNvSpPr/>
      </dsp:nvSpPr>
      <dsp:spPr>
        <a:xfrm>
          <a:off x="0" y="2560852"/>
          <a:ext cx="10880725" cy="1124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0" kern="1200"/>
            <a:t>Code to execute if terminating error occurs within </a:t>
          </a:r>
          <a:r>
            <a:rPr lang="en-US" sz="2000" b="1" kern="1200"/>
            <a:t>Try { } </a:t>
          </a:r>
          <a:r>
            <a:rPr lang="en-US" sz="2000" b="0" kern="1200"/>
            <a:t>block</a:t>
          </a:r>
        </a:p>
        <a:p>
          <a:pPr marL="228600" lvl="1" indent="-228600" algn="l" defTabSz="889000">
            <a:lnSpc>
              <a:spcPct val="90000"/>
            </a:lnSpc>
            <a:spcBef>
              <a:spcPct val="0"/>
            </a:spcBef>
            <a:spcAft>
              <a:spcPct val="20000"/>
            </a:spcAft>
            <a:buChar char="•"/>
          </a:pPr>
          <a:r>
            <a:rPr lang="en-US" sz="2000" b="0" kern="1200"/>
            <a:t>Can be for all or specific exception types</a:t>
          </a:r>
        </a:p>
        <a:p>
          <a:pPr marL="228600" lvl="1" indent="-228600" algn="l" defTabSz="889000">
            <a:lnSpc>
              <a:spcPct val="90000"/>
            </a:lnSpc>
            <a:spcBef>
              <a:spcPct val="0"/>
            </a:spcBef>
            <a:spcAft>
              <a:spcPct val="20000"/>
            </a:spcAft>
            <a:buChar char="•"/>
          </a:pPr>
          <a:r>
            <a:rPr lang="en-US" sz="2000" b="0" kern="1200"/>
            <a:t>Defined most specific </a:t>
          </a:r>
          <a:r>
            <a:rPr lang="en-US" sz="2000" b="1" kern="1200"/>
            <a:t>catch { } </a:t>
          </a:r>
          <a:r>
            <a:rPr lang="en-US" sz="2000" b="0" kern="1200"/>
            <a:t>exception</a:t>
          </a:r>
          <a:r>
            <a:rPr lang="en-US" sz="2000" b="1" kern="1200"/>
            <a:t> </a:t>
          </a:r>
          <a:r>
            <a:rPr lang="en-US" sz="2000" b="0" kern="1200"/>
            <a:t>type to least specific</a:t>
          </a:r>
        </a:p>
      </dsp:txBody>
      <dsp:txXfrm>
        <a:off x="0" y="2560852"/>
        <a:ext cx="10880725" cy="1124980"/>
      </dsp:txXfrm>
    </dsp:sp>
    <dsp:sp modelId="{8C72B1E5-DE73-457E-BF56-2A021CC26A8E}">
      <dsp:nvSpPr>
        <dsp:cNvPr id="0" name=""/>
        <dsp:cNvSpPr/>
      </dsp:nvSpPr>
      <dsp:spPr>
        <a:xfrm>
          <a:off x="0" y="3797423"/>
          <a:ext cx="10880725" cy="631693"/>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a:t>finally { }</a:t>
          </a:r>
        </a:p>
      </dsp:txBody>
      <dsp:txXfrm>
        <a:off x="30837" y="3828260"/>
        <a:ext cx="10819051" cy="570019"/>
      </dsp:txXfrm>
    </dsp:sp>
    <dsp:sp modelId="{A091F526-CEEB-4D25-849F-B0D4D482EAB9}">
      <dsp:nvSpPr>
        <dsp:cNvPr id="0" name=""/>
        <dsp:cNvSpPr/>
      </dsp:nvSpPr>
      <dsp:spPr>
        <a:xfrm>
          <a:off x="0" y="4488555"/>
          <a:ext cx="10880725" cy="10588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0" kern="1200"/>
            <a:t>Optional block guaranteed to run regardless if error occurred</a:t>
          </a:r>
        </a:p>
        <a:p>
          <a:pPr marL="228600" lvl="1" indent="-228600" algn="l" defTabSz="889000">
            <a:lnSpc>
              <a:spcPct val="90000"/>
            </a:lnSpc>
            <a:spcBef>
              <a:spcPct val="0"/>
            </a:spcBef>
            <a:spcAft>
              <a:spcPct val="20000"/>
            </a:spcAft>
            <a:buChar char="•"/>
          </a:pPr>
          <a:r>
            <a:rPr lang="en-US" sz="2000" b="0" kern="1200"/>
            <a:t>Useful for cleanup code</a:t>
          </a:r>
        </a:p>
      </dsp:txBody>
      <dsp:txXfrm>
        <a:off x="0" y="4488555"/>
        <a:ext cx="10880725" cy="1058804"/>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15482-768D-4FD3-96A9-3969D288BC4C}">
      <dsp:nvSpPr>
        <dsp:cNvPr id="0" name=""/>
        <dsp:cNvSpPr/>
      </dsp:nvSpPr>
      <dsp:spPr>
        <a:xfrm>
          <a:off x="0" y="4327716"/>
          <a:ext cx="10880725"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CA15ED-9B4F-4E6F-847C-72F996EBE757}">
      <dsp:nvSpPr>
        <dsp:cNvPr id="0" name=""/>
        <dsp:cNvSpPr/>
      </dsp:nvSpPr>
      <dsp:spPr>
        <a:xfrm>
          <a:off x="0" y="2468893"/>
          <a:ext cx="10880725"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D108DF-2436-49CD-8B2A-E5BF91AD3608}">
      <dsp:nvSpPr>
        <dsp:cNvPr id="0" name=""/>
        <dsp:cNvSpPr/>
      </dsp:nvSpPr>
      <dsp:spPr>
        <a:xfrm>
          <a:off x="0" y="610070"/>
          <a:ext cx="10880725" cy="0"/>
        </a:xfrm>
        <a:prstGeom prst="line">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E3C3B4-C497-4739-A006-5C0AC793F778}">
      <dsp:nvSpPr>
        <dsp:cNvPr id="0" name=""/>
        <dsp:cNvSpPr/>
      </dsp:nvSpPr>
      <dsp:spPr>
        <a:xfrm>
          <a:off x="2828988" y="680"/>
          <a:ext cx="8051736" cy="609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b="1" kern="1200" dirty="0"/>
            <a:t>Attempt</a:t>
          </a:r>
          <a:r>
            <a:rPr lang="en-US" sz="2400" kern="1200" dirty="0"/>
            <a:t> code that may result in </a:t>
          </a:r>
          <a:r>
            <a:rPr lang="en-US" sz="2400" b="1" kern="1200" dirty="0"/>
            <a:t>terminating</a:t>
          </a:r>
          <a:r>
            <a:rPr lang="en-US" sz="2400" kern="1200" dirty="0"/>
            <a:t> error</a:t>
          </a:r>
        </a:p>
      </dsp:txBody>
      <dsp:txXfrm>
        <a:off x="2828988" y="680"/>
        <a:ext cx="8051736" cy="609390"/>
      </dsp:txXfrm>
    </dsp:sp>
    <dsp:sp modelId="{50641966-02CD-4C6E-BEC3-779AEEEF231F}">
      <dsp:nvSpPr>
        <dsp:cNvPr id="0" name=""/>
        <dsp:cNvSpPr/>
      </dsp:nvSpPr>
      <dsp:spPr>
        <a:xfrm>
          <a:off x="0" y="680"/>
          <a:ext cx="2828988" cy="609390"/>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Try</a:t>
          </a:r>
        </a:p>
      </dsp:txBody>
      <dsp:txXfrm>
        <a:off x="29753" y="30433"/>
        <a:ext cx="2769482" cy="579637"/>
      </dsp:txXfrm>
    </dsp:sp>
    <dsp:sp modelId="{BCD6456C-4E62-416A-809A-D672189B9F87}">
      <dsp:nvSpPr>
        <dsp:cNvPr id="0" name=""/>
        <dsp:cNvSpPr/>
      </dsp:nvSpPr>
      <dsp:spPr>
        <a:xfrm>
          <a:off x="0" y="610070"/>
          <a:ext cx="10880725" cy="12189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228600" lvl="1" indent="-228600" algn="l" defTabSz="1066800">
            <a:lnSpc>
              <a:spcPct val="90000"/>
            </a:lnSpc>
            <a:spcBef>
              <a:spcPct val="0"/>
            </a:spcBef>
            <a:spcAft>
              <a:spcPct val="15000"/>
            </a:spcAft>
            <a:buChar char="•"/>
          </a:pPr>
          <a:r>
            <a:rPr lang="en-US" sz="2400" b="1" kern="1200" dirty="0"/>
            <a:t>Must</a:t>
          </a:r>
          <a:r>
            <a:rPr lang="en-US" sz="2400" kern="1200" dirty="0"/>
            <a:t> have at least one </a:t>
          </a:r>
          <a:r>
            <a:rPr lang="en-US" sz="2400" b="1" kern="1200" dirty="0"/>
            <a:t>Catch { } </a:t>
          </a:r>
          <a:r>
            <a:rPr lang="en-US" sz="2400" kern="1200" dirty="0"/>
            <a:t>or </a:t>
          </a:r>
          <a:r>
            <a:rPr lang="en-US" sz="2400" b="1" kern="1200" dirty="0"/>
            <a:t>Finally { } </a:t>
          </a:r>
          <a:r>
            <a:rPr lang="en-US" sz="2400" kern="1200" dirty="0"/>
            <a:t>block</a:t>
          </a:r>
        </a:p>
      </dsp:txBody>
      <dsp:txXfrm>
        <a:off x="0" y="610070"/>
        <a:ext cx="10880725" cy="1218963"/>
      </dsp:txXfrm>
    </dsp:sp>
    <dsp:sp modelId="{E1F2B100-BA01-4745-BB8F-F91436C7E635}">
      <dsp:nvSpPr>
        <dsp:cNvPr id="0" name=""/>
        <dsp:cNvSpPr/>
      </dsp:nvSpPr>
      <dsp:spPr>
        <a:xfrm>
          <a:off x="2828988" y="1859503"/>
          <a:ext cx="8051736" cy="609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dirty="0"/>
            <a:t>Code to execute if terminating error </a:t>
          </a:r>
          <a:r>
            <a:rPr lang="en-US" sz="2400" b="1" kern="1200" dirty="0"/>
            <a:t>occurs</a:t>
          </a:r>
        </a:p>
      </dsp:txBody>
      <dsp:txXfrm>
        <a:off x="2828988" y="1859503"/>
        <a:ext cx="8051736" cy="609390"/>
      </dsp:txXfrm>
    </dsp:sp>
    <dsp:sp modelId="{94FC6309-6924-4D12-92DF-A13600C896B7}">
      <dsp:nvSpPr>
        <dsp:cNvPr id="0" name=""/>
        <dsp:cNvSpPr/>
      </dsp:nvSpPr>
      <dsp:spPr>
        <a:xfrm>
          <a:off x="0" y="1859503"/>
          <a:ext cx="2828988" cy="609390"/>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Catch</a:t>
          </a:r>
        </a:p>
      </dsp:txBody>
      <dsp:txXfrm>
        <a:off x="29753" y="1889256"/>
        <a:ext cx="2769482" cy="579637"/>
      </dsp:txXfrm>
    </dsp:sp>
    <dsp:sp modelId="{2EE41189-6D2C-498C-BD33-AEDCBAA3664B}">
      <dsp:nvSpPr>
        <dsp:cNvPr id="0" name=""/>
        <dsp:cNvSpPr/>
      </dsp:nvSpPr>
      <dsp:spPr>
        <a:xfrm>
          <a:off x="0" y="2468893"/>
          <a:ext cx="10880725" cy="12189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Can be for </a:t>
          </a:r>
          <a:r>
            <a:rPr lang="en-US" sz="2400" b="1" kern="1200" dirty="0"/>
            <a:t>all</a:t>
          </a:r>
          <a:r>
            <a:rPr lang="en-US" sz="2400" kern="1200" dirty="0"/>
            <a:t> or </a:t>
          </a:r>
          <a:r>
            <a:rPr lang="en-US" sz="2400" b="1" kern="1200" dirty="0"/>
            <a:t>specific</a:t>
          </a:r>
          <a:r>
            <a:rPr lang="en-US" sz="2400" kern="1200" dirty="0"/>
            <a:t> exception types</a:t>
          </a:r>
        </a:p>
        <a:p>
          <a:pPr marL="228600" lvl="1" indent="-228600" algn="l" defTabSz="1066800">
            <a:lnSpc>
              <a:spcPct val="90000"/>
            </a:lnSpc>
            <a:spcBef>
              <a:spcPct val="0"/>
            </a:spcBef>
            <a:spcAft>
              <a:spcPct val="15000"/>
            </a:spcAft>
            <a:buChar char="•"/>
          </a:pPr>
          <a:r>
            <a:rPr lang="en-US" sz="2400" b="1" kern="1200" dirty="0"/>
            <a:t>Multiple</a:t>
          </a:r>
          <a:r>
            <a:rPr lang="en-US" sz="2400" kern="1200" dirty="0"/>
            <a:t> </a:t>
          </a:r>
          <a:r>
            <a:rPr lang="en-US" sz="2400" b="1" kern="1200" dirty="0"/>
            <a:t>Catch { } </a:t>
          </a:r>
          <a:r>
            <a:rPr lang="en-US" sz="2400" kern="1200" dirty="0"/>
            <a:t>blocks can be defined</a:t>
          </a:r>
        </a:p>
      </dsp:txBody>
      <dsp:txXfrm>
        <a:off x="0" y="2468893"/>
        <a:ext cx="10880725" cy="1218963"/>
      </dsp:txXfrm>
    </dsp:sp>
    <dsp:sp modelId="{5EFE0495-A0CD-49F2-918D-0CBBF3F69C61}">
      <dsp:nvSpPr>
        <dsp:cNvPr id="0" name=""/>
        <dsp:cNvSpPr/>
      </dsp:nvSpPr>
      <dsp:spPr>
        <a:xfrm>
          <a:off x="2828988" y="3718326"/>
          <a:ext cx="8051736" cy="609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b="1" kern="1200" dirty="0"/>
            <a:t>Guaranteed to run </a:t>
          </a:r>
          <a:r>
            <a:rPr lang="en-US" sz="2400" kern="1200" dirty="0"/>
            <a:t>regardless if error occurred</a:t>
          </a:r>
        </a:p>
      </dsp:txBody>
      <dsp:txXfrm>
        <a:off x="2828988" y="3718326"/>
        <a:ext cx="8051736" cy="609390"/>
      </dsp:txXfrm>
    </dsp:sp>
    <dsp:sp modelId="{3D961A46-3909-4CF0-A6F9-77E677A75EAE}">
      <dsp:nvSpPr>
        <dsp:cNvPr id="0" name=""/>
        <dsp:cNvSpPr/>
      </dsp:nvSpPr>
      <dsp:spPr>
        <a:xfrm>
          <a:off x="0" y="3718326"/>
          <a:ext cx="2828988" cy="609390"/>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Finally</a:t>
          </a:r>
        </a:p>
      </dsp:txBody>
      <dsp:txXfrm>
        <a:off x="29753" y="3748079"/>
        <a:ext cx="2769482" cy="579637"/>
      </dsp:txXfrm>
    </dsp:sp>
    <dsp:sp modelId="{4C7474BB-3C24-4965-9D2B-A37731AE41D5}">
      <dsp:nvSpPr>
        <dsp:cNvPr id="0" name=""/>
        <dsp:cNvSpPr/>
      </dsp:nvSpPr>
      <dsp:spPr>
        <a:xfrm>
          <a:off x="0" y="4327716"/>
          <a:ext cx="10880725" cy="12189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228600" lvl="1" indent="-228600" algn="l" defTabSz="1066800">
            <a:lnSpc>
              <a:spcPct val="90000"/>
            </a:lnSpc>
            <a:spcBef>
              <a:spcPct val="0"/>
            </a:spcBef>
            <a:spcAft>
              <a:spcPct val="15000"/>
            </a:spcAft>
            <a:buChar char="•"/>
          </a:pPr>
          <a:r>
            <a:rPr lang="en-US" sz="2400" b="1" kern="1200" dirty="0"/>
            <a:t>Optional</a:t>
          </a:r>
        </a:p>
        <a:p>
          <a:pPr marL="228600" lvl="1" indent="-228600" algn="l" defTabSz="1066800">
            <a:lnSpc>
              <a:spcPct val="90000"/>
            </a:lnSpc>
            <a:spcBef>
              <a:spcPct val="0"/>
            </a:spcBef>
            <a:spcAft>
              <a:spcPct val="15000"/>
            </a:spcAft>
            <a:buChar char="•"/>
          </a:pPr>
          <a:r>
            <a:rPr lang="en-US" sz="2400" kern="1200" dirty="0"/>
            <a:t>Useful for </a:t>
          </a:r>
          <a:r>
            <a:rPr lang="en-US" sz="2400" b="1" kern="1200" dirty="0"/>
            <a:t>cleanup</a:t>
          </a:r>
          <a:r>
            <a:rPr lang="en-US" sz="2400" kern="1200" dirty="0"/>
            <a:t> code, like </a:t>
          </a:r>
          <a:r>
            <a:rPr lang="en-US" sz="2400" b="1" kern="1200" dirty="0"/>
            <a:t>.Dispose() </a:t>
          </a:r>
          <a:r>
            <a:rPr lang="en-US" sz="2400" kern="1200" dirty="0"/>
            <a:t>methods</a:t>
          </a:r>
        </a:p>
      </dsp:txBody>
      <dsp:txXfrm>
        <a:off x="0" y="4327716"/>
        <a:ext cx="10880725" cy="12189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75B36E-BC38-4E79-9831-AA95F5265630}">
      <dsp:nvSpPr>
        <dsp:cNvPr id="0" name=""/>
        <dsp:cNvSpPr/>
      </dsp:nvSpPr>
      <dsp:spPr>
        <a:xfrm>
          <a:off x="0" y="1237"/>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087B8D-3020-4E82-B82E-7FBB1B496231}">
      <dsp:nvSpPr>
        <dsp:cNvPr id="0" name=""/>
        <dsp:cNvSpPr/>
      </dsp:nvSpPr>
      <dsp:spPr>
        <a:xfrm>
          <a:off x="0" y="1237"/>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a:t>Identify</a:t>
          </a:r>
          <a:r>
            <a:rPr lang="en-US" sz="2200" kern="1200"/>
            <a:t> where the error has occurred</a:t>
          </a:r>
        </a:p>
      </dsp:txBody>
      <dsp:txXfrm>
        <a:off x="0" y="1237"/>
        <a:ext cx="3329781" cy="844122"/>
      </dsp:txXfrm>
    </dsp:sp>
    <dsp:sp modelId="{B0C8D242-0B1A-4710-8517-64BE0F45D7EA}">
      <dsp:nvSpPr>
        <dsp:cNvPr id="0" name=""/>
        <dsp:cNvSpPr/>
      </dsp:nvSpPr>
      <dsp:spPr>
        <a:xfrm>
          <a:off x="0" y="845359"/>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E32C9C-3CDE-44B0-93C1-EF492B612CD8}">
      <dsp:nvSpPr>
        <dsp:cNvPr id="0" name=""/>
        <dsp:cNvSpPr/>
      </dsp:nvSpPr>
      <dsp:spPr>
        <a:xfrm>
          <a:off x="0" y="845359"/>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Resolve </a:t>
          </a:r>
          <a:r>
            <a:rPr lang="en-US" sz="2200" b="1" kern="1200"/>
            <a:t>logic</a:t>
          </a:r>
          <a:r>
            <a:rPr lang="en-US" sz="2200" kern="1200"/>
            <a:t> issues to prevent error</a:t>
          </a:r>
        </a:p>
      </dsp:txBody>
      <dsp:txXfrm>
        <a:off x="0" y="845359"/>
        <a:ext cx="3329781" cy="844122"/>
      </dsp:txXfrm>
    </dsp:sp>
    <dsp:sp modelId="{28D7EA6E-4095-4F32-BFA1-431295B0D5E1}">
      <dsp:nvSpPr>
        <dsp:cNvPr id="0" name=""/>
        <dsp:cNvSpPr/>
      </dsp:nvSpPr>
      <dsp:spPr>
        <a:xfrm>
          <a:off x="0" y="1689482"/>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149D5F-B10B-4ECB-9ACC-205599AE69CB}">
      <dsp:nvSpPr>
        <dsp:cNvPr id="0" name=""/>
        <dsp:cNvSpPr/>
      </dsp:nvSpPr>
      <dsp:spPr>
        <a:xfrm>
          <a:off x="0" y="1689482"/>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endParaRPr lang="en-US" sz="2200" kern="1200"/>
        </a:p>
      </dsp:txBody>
      <dsp:txXfrm>
        <a:off x="0" y="1689482"/>
        <a:ext cx="3329781" cy="844122"/>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335B95-CFE6-49D0-A49C-9391CFB9B8FB}">
      <dsp:nvSpPr>
        <dsp:cNvPr id="0" name=""/>
        <dsp:cNvSpPr/>
      </dsp:nvSpPr>
      <dsp:spPr>
        <a:xfrm>
          <a:off x="4971" y="3526"/>
          <a:ext cx="5852449" cy="169691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1066800">
            <a:lnSpc>
              <a:spcPct val="90000"/>
            </a:lnSpc>
            <a:spcBef>
              <a:spcPct val="0"/>
            </a:spcBef>
            <a:spcAft>
              <a:spcPct val="35000"/>
            </a:spcAft>
            <a:buNone/>
          </a:pPr>
          <a:r>
            <a:rPr lang="en-US" sz="2400" b="1" kern="1200" dirty="0"/>
            <a:t>Try</a:t>
          </a:r>
          <a:endParaRPr lang="en-US" sz="2000" b="1" kern="1200" dirty="0"/>
        </a:p>
        <a:p>
          <a:pPr marL="228600" lvl="1" indent="-228600" algn="l" defTabSz="889000">
            <a:lnSpc>
              <a:spcPct val="90000"/>
            </a:lnSpc>
            <a:spcBef>
              <a:spcPct val="0"/>
            </a:spcBef>
            <a:spcAft>
              <a:spcPct val="15000"/>
            </a:spcAft>
            <a:buChar char="•"/>
          </a:pPr>
          <a:r>
            <a:rPr lang="en-US" sz="2000" b="1" kern="1200" dirty="0"/>
            <a:t>Attempt</a:t>
          </a:r>
          <a:r>
            <a:rPr lang="en-US" sz="2000" kern="1200" dirty="0"/>
            <a:t> a code block that may result in </a:t>
          </a:r>
          <a:r>
            <a:rPr lang="en-US" sz="2000" b="1" kern="1200" dirty="0"/>
            <a:t>terminating</a:t>
          </a:r>
          <a:r>
            <a:rPr lang="en-US" sz="2000" kern="1200" dirty="0"/>
            <a:t> error</a:t>
          </a:r>
        </a:p>
        <a:p>
          <a:pPr marL="228600" lvl="1" indent="-228600" algn="l" defTabSz="889000">
            <a:lnSpc>
              <a:spcPct val="90000"/>
            </a:lnSpc>
            <a:spcBef>
              <a:spcPct val="0"/>
            </a:spcBef>
            <a:spcAft>
              <a:spcPct val="15000"/>
            </a:spcAft>
            <a:buChar char="•"/>
          </a:pPr>
          <a:r>
            <a:rPr lang="en-US" sz="2000" b="1" kern="1200" dirty="0"/>
            <a:t>Must</a:t>
          </a:r>
          <a:r>
            <a:rPr lang="en-US" sz="2000" kern="1200" dirty="0"/>
            <a:t> have at least one </a:t>
          </a:r>
          <a:r>
            <a:rPr lang="en-US" sz="2000" b="1" kern="1200" dirty="0"/>
            <a:t>Catch { } </a:t>
          </a:r>
          <a:r>
            <a:rPr lang="en-US" sz="2000" kern="1200" dirty="0"/>
            <a:t>or </a:t>
          </a:r>
          <a:r>
            <a:rPr lang="en-US" sz="2000" b="1" kern="1200" dirty="0"/>
            <a:t>Finally { }</a:t>
          </a:r>
          <a:endParaRPr lang="en-US" sz="2000" kern="1200" dirty="0"/>
        </a:p>
      </dsp:txBody>
      <dsp:txXfrm>
        <a:off x="4971" y="3526"/>
        <a:ext cx="5852449" cy="1696913"/>
      </dsp:txXfrm>
    </dsp:sp>
    <dsp:sp modelId="{EBD08D7D-2184-4FE3-B02B-7064BBAD40C0}">
      <dsp:nvSpPr>
        <dsp:cNvPr id="0" name=""/>
        <dsp:cNvSpPr/>
      </dsp:nvSpPr>
      <dsp:spPr>
        <a:xfrm>
          <a:off x="0" y="1785286"/>
          <a:ext cx="5862392" cy="1958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1066800">
            <a:lnSpc>
              <a:spcPct val="90000"/>
            </a:lnSpc>
            <a:spcBef>
              <a:spcPct val="0"/>
            </a:spcBef>
            <a:spcAft>
              <a:spcPct val="35000"/>
            </a:spcAft>
            <a:buNone/>
          </a:pPr>
          <a:r>
            <a:rPr lang="en-US" sz="2400" b="1" kern="1200" dirty="0"/>
            <a:t>Catch</a:t>
          </a:r>
          <a:endParaRPr lang="en-US" sz="2000" b="1" kern="1200" dirty="0"/>
        </a:p>
        <a:p>
          <a:pPr marL="228600" lvl="1" indent="-228600" algn="l" defTabSz="889000">
            <a:lnSpc>
              <a:spcPct val="90000"/>
            </a:lnSpc>
            <a:spcBef>
              <a:spcPct val="0"/>
            </a:spcBef>
            <a:spcAft>
              <a:spcPct val="15000"/>
            </a:spcAft>
            <a:buChar char="•"/>
          </a:pPr>
          <a:r>
            <a:rPr lang="en-US" sz="2000" kern="1200" dirty="0"/>
            <a:t>Code to execute if terminating error occurs within </a:t>
          </a:r>
          <a:r>
            <a:rPr lang="en-US" sz="2000" b="1" kern="1200" dirty="0"/>
            <a:t>Try { } </a:t>
          </a:r>
          <a:r>
            <a:rPr lang="en-US" sz="2000" kern="1200" dirty="0"/>
            <a:t>block</a:t>
          </a:r>
        </a:p>
        <a:p>
          <a:pPr marL="228600" lvl="1" indent="-228600" algn="l" defTabSz="889000">
            <a:lnSpc>
              <a:spcPct val="90000"/>
            </a:lnSpc>
            <a:spcBef>
              <a:spcPct val="0"/>
            </a:spcBef>
            <a:spcAft>
              <a:spcPct val="15000"/>
            </a:spcAft>
            <a:buChar char="•"/>
          </a:pPr>
          <a:r>
            <a:rPr lang="en-US" sz="2000" kern="1200" dirty="0"/>
            <a:t>Can be for </a:t>
          </a:r>
          <a:r>
            <a:rPr lang="en-US" sz="2000" b="1" kern="1200" dirty="0"/>
            <a:t>all</a:t>
          </a:r>
          <a:r>
            <a:rPr lang="en-US" sz="2000" kern="1200" dirty="0"/>
            <a:t> or </a:t>
          </a:r>
          <a:r>
            <a:rPr lang="en-US" sz="2000" b="1" kern="1200" dirty="0"/>
            <a:t>specific</a:t>
          </a:r>
          <a:r>
            <a:rPr lang="en-US" sz="2000" kern="1200" dirty="0"/>
            <a:t> exception types</a:t>
          </a:r>
        </a:p>
        <a:p>
          <a:pPr marL="228600" lvl="1" indent="-228600" algn="l" defTabSz="889000">
            <a:lnSpc>
              <a:spcPct val="90000"/>
            </a:lnSpc>
            <a:spcBef>
              <a:spcPct val="0"/>
            </a:spcBef>
            <a:spcAft>
              <a:spcPct val="15000"/>
            </a:spcAft>
            <a:buChar char="•"/>
          </a:pPr>
          <a:r>
            <a:rPr lang="en-US" sz="2000" b="1" kern="1200" dirty="0"/>
            <a:t>Multiple</a:t>
          </a:r>
          <a:r>
            <a:rPr lang="en-US" sz="2000" kern="1200" dirty="0"/>
            <a:t> </a:t>
          </a:r>
          <a:r>
            <a:rPr lang="en-US" sz="2000" b="1" kern="1200" dirty="0"/>
            <a:t>Catch { } </a:t>
          </a:r>
          <a:r>
            <a:rPr lang="en-US" sz="2000" kern="1200" dirty="0"/>
            <a:t>blocks can be defined</a:t>
          </a:r>
        </a:p>
      </dsp:txBody>
      <dsp:txXfrm>
        <a:off x="0" y="1785286"/>
        <a:ext cx="5862392" cy="1958136"/>
      </dsp:txXfrm>
    </dsp:sp>
    <dsp:sp modelId="{8154026A-EE49-4116-B18E-321218315D52}">
      <dsp:nvSpPr>
        <dsp:cNvPr id="0" name=""/>
        <dsp:cNvSpPr/>
      </dsp:nvSpPr>
      <dsp:spPr>
        <a:xfrm>
          <a:off x="0" y="3828268"/>
          <a:ext cx="5862392" cy="182458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ctr" defTabSz="1066800">
            <a:lnSpc>
              <a:spcPct val="90000"/>
            </a:lnSpc>
            <a:spcBef>
              <a:spcPct val="0"/>
            </a:spcBef>
            <a:spcAft>
              <a:spcPct val="35000"/>
            </a:spcAft>
            <a:buNone/>
          </a:pPr>
          <a:r>
            <a:rPr lang="en-US" sz="2400" b="1" kern="1200" dirty="0"/>
            <a:t>Finally</a:t>
          </a:r>
          <a:endParaRPr lang="en-US" sz="2000" b="1" kern="1200" dirty="0"/>
        </a:p>
        <a:p>
          <a:pPr marL="228600" lvl="1" indent="-228600" algn="l" defTabSz="889000">
            <a:lnSpc>
              <a:spcPct val="90000"/>
            </a:lnSpc>
            <a:spcBef>
              <a:spcPct val="0"/>
            </a:spcBef>
            <a:spcAft>
              <a:spcPct val="15000"/>
            </a:spcAft>
            <a:buChar char="•"/>
          </a:pPr>
          <a:r>
            <a:rPr lang="en-US" sz="2000" b="1" kern="1200" dirty="0"/>
            <a:t>Optional</a:t>
          </a:r>
          <a:r>
            <a:rPr lang="en-US" sz="2000" kern="1200" dirty="0"/>
            <a:t> block </a:t>
          </a:r>
          <a:r>
            <a:rPr lang="en-US" sz="2000" b="1" kern="1200" dirty="0"/>
            <a:t>guaranteed to run </a:t>
          </a:r>
          <a:r>
            <a:rPr lang="en-US" sz="2000" kern="1200" dirty="0"/>
            <a:t>regardless if error occurred</a:t>
          </a:r>
        </a:p>
        <a:p>
          <a:pPr marL="228600" lvl="1" indent="-228600" algn="l" defTabSz="889000">
            <a:lnSpc>
              <a:spcPct val="90000"/>
            </a:lnSpc>
            <a:spcBef>
              <a:spcPct val="0"/>
            </a:spcBef>
            <a:spcAft>
              <a:spcPct val="15000"/>
            </a:spcAft>
            <a:buChar char="•"/>
          </a:pPr>
          <a:r>
            <a:rPr lang="en-US" sz="2000" kern="1200" dirty="0"/>
            <a:t>Useful for </a:t>
          </a:r>
          <a:r>
            <a:rPr lang="en-US" sz="2000" b="1" kern="1200" dirty="0"/>
            <a:t>cleanup</a:t>
          </a:r>
          <a:r>
            <a:rPr lang="en-US" sz="2000" kern="1200" dirty="0"/>
            <a:t> code, like </a:t>
          </a:r>
          <a:r>
            <a:rPr lang="en-US" sz="2000" b="1" kern="1200" dirty="0"/>
            <a:t>.Dispose() </a:t>
          </a:r>
          <a:r>
            <a:rPr lang="en-US" sz="2000" kern="1200" dirty="0"/>
            <a:t>methods</a:t>
          </a:r>
        </a:p>
      </dsp:txBody>
      <dsp:txXfrm>
        <a:off x="0" y="3828268"/>
        <a:ext cx="5862392" cy="1824589"/>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6EC4C-133A-47E7-A143-9D38415F85F8}">
      <dsp:nvSpPr>
        <dsp:cNvPr id="0" name=""/>
        <dsp:cNvSpPr/>
      </dsp:nvSpPr>
      <dsp:spPr>
        <a:xfrm>
          <a:off x="0" y="0"/>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Determine error type</a:t>
          </a:r>
        </a:p>
      </dsp:txBody>
      <dsp:txXfrm>
        <a:off x="23925" y="23925"/>
        <a:ext cx="2738987" cy="769014"/>
      </dsp:txXfrm>
    </dsp:sp>
    <dsp:sp modelId="{25A02B05-B0CD-41CA-A921-152375AAF900}">
      <dsp:nvSpPr>
        <dsp:cNvPr id="0" name=""/>
        <dsp:cNvSpPr/>
      </dsp:nvSpPr>
      <dsp:spPr>
        <a:xfrm>
          <a:off x="277495" y="930317"/>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Create </a:t>
          </a:r>
          <a:r>
            <a:rPr lang="en-US" sz="2000" b="1" kern="1200"/>
            <a:t>trap </a:t>
          </a:r>
          <a:r>
            <a:rPr lang="en-US" sz="2000" b="0" kern="1200"/>
            <a:t>block</a:t>
          </a:r>
          <a:r>
            <a:rPr lang="en-US" sz="2000" kern="1200"/>
            <a:t>(s) for the error type</a:t>
          </a:r>
        </a:p>
      </dsp:txBody>
      <dsp:txXfrm>
        <a:off x="301420" y="954242"/>
        <a:ext cx="2859713" cy="769014"/>
      </dsp:txXfrm>
    </dsp:sp>
    <dsp:sp modelId="{58F858D3-62CE-4F51-8B91-B8C5A476ADF7}">
      <dsp:nvSpPr>
        <dsp:cNvPr id="0" name=""/>
        <dsp:cNvSpPr/>
      </dsp:nvSpPr>
      <dsp:spPr>
        <a:xfrm>
          <a:off x="554990" y="1860634"/>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Execute code</a:t>
          </a:r>
        </a:p>
      </dsp:txBody>
      <dsp:txXfrm>
        <a:off x="578915" y="1884559"/>
        <a:ext cx="2859713" cy="769014"/>
      </dsp:txXfrm>
    </dsp:sp>
    <dsp:sp modelId="{F80577EB-6FEE-48D4-8E7A-D52D9B80C560}">
      <dsp:nvSpPr>
        <dsp:cNvPr id="0" name=""/>
        <dsp:cNvSpPr/>
      </dsp:nvSpPr>
      <dsp:spPr>
        <a:xfrm>
          <a:off x="832485" y="2790952"/>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Terminating error triggers the trap code</a:t>
          </a:r>
        </a:p>
      </dsp:txBody>
      <dsp:txXfrm>
        <a:off x="856410" y="2814877"/>
        <a:ext cx="2859713" cy="769014"/>
      </dsp:txXfrm>
    </dsp:sp>
    <dsp:sp modelId="{C1B7AF34-209D-42D2-81F6-835348D13CD3}">
      <dsp:nvSpPr>
        <dsp:cNvPr id="0" name=""/>
        <dsp:cNvSpPr/>
      </dsp:nvSpPr>
      <dsp:spPr>
        <a:xfrm>
          <a:off x="1109980" y="3721269"/>
          <a:ext cx="3716019" cy="816864"/>
        </a:xfrm>
        <a:prstGeom prst="roundRect">
          <a:avLst>
            <a:gd name="adj" fmla="val 10000"/>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endParaRPr lang="en-US" sz="2000" kern="1200"/>
        </a:p>
      </dsp:txBody>
      <dsp:txXfrm>
        <a:off x="1133905" y="3745194"/>
        <a:ext cx="2859713" cy="769014"/>
      </dsp:txXfrm>
    </dsp:sp>
    <dsp:sp modelId="{AF055301-1112-4241-A4FE-7C93897A5AB7}">
      <dsp:nvSpPr>
        <dsp:cNvPr id="0" name=""/>
        <dsp:cNvSpPr/>
      </dsp:nvSpPr>
      <dsp:spPr>
        <a:xfrm>
          <a:off x="3185058" y="596764"/>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304524" y="596764"/>
        <a:ext cx="292029" cy="399548"/>
      </dsp:txXfrm>
    </dsp:sp>
    <dsp:sp modelId="{7F723226-71E3-46FB-93D1-F871F8BC2177}">
      <dsp:nvSpPr>
        <dsp:cNvPr id="0" name=""/>
        <dsp:cNvSpPr/>
      </dsp:nvSpPr>
      <dsp:spPr>
        <a:xfrm>
          <a:off x="3462553" y="1527082"/>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582019" y="1527082"/>
        <a:ext cx="292029" cy="399548"/>
      </dsp:txXfrm>
    </dsp:sp>
    <dsp:sp modelId="{CA7BDE0D-31C1-4E95-AA25-DA70320A4D69}">
      <dsp:nvSpPr>
        <dsp:cNvPr id="0" name=""/>
        <dsp:cNvSpPr/>
      </dsp:nvSpPr>
      <dsp:spPr>
        <a:xfrm>
          <a:off x="3740048" y="2443785"/>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859514" y="2443785"/>
        <a:ext cx="292029" cy="399548"/>
      </dsp:txXfrm>
    </dsp:sp>
    <dsp:sp modelId="{D20A181B-F0A4-4DBC-8E5F-BEEE5FA8E4B8}">
      <dsp:nvSpPr>
        <dsp:cNvPr id="0" name=""/>
        <dsp:cNvSpPr/>
      </dsp:nvSpPr>
      <dsp:spPr>
        <a:xfrm>
          <a:off x="4017543" y="3383178"/>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4137009" y="3383178"/>
        <a:ext cx="292029" cy="399548"/>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4105C7-342D-4EA6-B435-4F382EAD613F}">
      <dsp:nvSpPr>
        <dsp:cNvPr id="0" name=""/>
        <dsp:cNvSpPr/>
      </dsp:nvSpPr>
      <dsp:spPr>
        <a:xfrm>
          <a:off x="0" y="0"/>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Determine error type</a:t>
          </a:r>
        </a:p>
      </dsp:txBody>
      <dsp:txXfrm>
        <a:off x="23925" y="23925"/>
        <a:ext cx="2738987" cy="769014"/>
      </dsp:txXfrm>
    </dsp:sp>
    <dsp:sp modelId="{C4728F51-3174-4139-BB04-2EB85E9BF43D}">
      <dsp:nvSpPr>
        <dsp:cNvPr id="0" name=""/>
        <dsp:cNvSpPr/>
      </dsp:nvSpPr>
      <dsp:spPr>
        <a:xfrm>
          <a:off x="277495" y="930317"/>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Encapsulate code into </a:t>
          </a:r>
          <a:r>
            <a:rPr lang="en-US" sz="1900" b="1" kern="1200"/>
            <a:t>Try{ } </a:t>
          </a:r>
          <a:r>
            <a:rPr lang="en-US" sz="1900" kern="1200"/>
            <a:t>block</a:t>
          </a:r>
        </a:p>
      </dsp:txBody>
      <dsp:txXfrm>
        <a:off x="301420" y="954242"/>
        <a:ext cx="2859713" cy="769014"/>
      </dsp:txXfrm>
    </dsp:sp>
    <dsp:sp modelId="{A0D603F0-E083-472B-9D85-C5E7385AA72E}">
      <dsp:nvSpPr>
        <dsp:cNvPr id="0" name=""/>
        <dsp:cNvSpPr/>
      </dsp:nvSpPr>
      <dsp:spPr>
        <a:xfrm>
          <a:off x="554990" y="1860634"/>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reate </a:t>
          </a:r>
          <a:r>
            <a:rPr lang="en-US" sz="1900" b="1" kern="1200"/>
            <a:t>catch</a:t>
          </a:r>
          <a:r>
            <a:rPr lang="en-US" sz="1900" kern="1200"/>
            <a:t> block(s) for the error type</a:t>
          </a:r>
        </a:p>
      </dsp:txBody>
      <dsp:txXfrm>
        <a:off x="578915" y="1884559"/>
        <a:ext cx="2859713" cy="769014"/>
      </dsp:txXfrm>
    </dsp:sp>
    <dsp:sp modelId="{3E7316AE-F388-400F-9CFF-BD6CE45E0981}">
      <dsp:nvSpPr>
        <dsp:cNvPr id="0" name=""/>
        <dsp:cNvSpPr/>
      </dsp:nvSpPr>
      <dsp:spPr>
        <a:xfrm>
          <a:off x="832485" y="2790952"/>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Execute code</a:t>
          </a:r>
        </a:p>
      </dsp:txBody>
      <dsp:txXfrm>
        <a:off x="856410" y="2814877"/>
        <a:ext cx="2859713" cy="769014"/>
      </dsp:txXfrm>
    </dsp:sp>
    <dsp:sp modelId="{C1FB2C0A-2FA4-4B56-9740-4CAF60B84FA0}">
      <dsp:nvSpPr>
        <dsp:cNvPr id="0" name=""/>
        <dsp:cNvSpPr/>
      </dsp:nvSpPr>
      <dsp:spPr>
        <a:xfrm>
          <a:off x="1109980" y="3721269"/>
          <a:ext cx="3716019" cy="816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Create optional </a:t>
          </a:r>
          <a:r>
            <a:rPr lang="en-US" sz="1900" b="1" kern="1200"/>
            <a:t>finally{ } </a:t>
          </a:r>
          <a:r>
            <a:rPr lang="en-US" sz="1900" b="0" kern="1200"/>
            <a:t>block for cleanup code</a:t>
          </a:r>
          <a:endParaRPr lang="en-US" sz="1900" kern="1200"/>
        </a:p>
      </dsp:txBody>
      <dsp:txXfrm>
        <a:off x="1133905" y="3745194"/>
        <a:ext cx="2859713" cy="769014"/>
      </dsp:txXfrm>
    </dsp:sp>
    <dsp:sp modelId="{A8550069-49A2-42AD-ABFF-788C280CCC7F}">
      <dsp:nvSpPr>
        <dsp:cNvPr id="0" name=""/>
        <dsp:cNvSpPr/>
      </dsp:nvSpPr>
      <dsp:spPr>
        <a:xfrm>
          <a:off x="3185058" y="596764"/>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3304524" y="596764"/>
        <a:ext cx="292029" cy="399548"/>
      </dsp:txXfrm>
    </dsp:sp>
    <dsp:sp modelId="{774356FB-C7A7-416D-BE0F-F5A21E39FBB6}">
      <dsp:nvSpPr>
        <dsp:cNvPr id="0" name=""/>
        <dsp:cNvSpPr/>
      </dsp:nvSpPr>
      <dsp:spPr>
        <a:xfrm>
          <a:off x="3462553" y="1527082"/>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3582019" y="1527082"/>
        <a:ext cx="292029" cy="399548"/>
      </dsp:txXfrm>
    </dsp:sp>
    <dsp:sp modelId="{B1B1B461-5A38-4B5D-99D3-B4D43240FD23}">
      <dsp:nvSpPr>
        <dsp:cNvPr id="0" name=""/>
        <dsp:cNvSpPr/>
      </dsp:nvSpPr>
      <dsp:spPr>
        <a:xfrm>
          <a:off x="3740048" y="2443785"/>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3859514" y="2443785"/>
        <a:ext cx="292029" cy="399548"/>
      </dsp:txXfrm>
    </dsp:sp>
    <dsp:sp modelId="{E0083E16-A488-4A4D-B6E3-E7AA15F22A6C}">
      <dsp:nvSpPr>
        <dsp:cNvPr id="0" name=""/>
        <dsp:cNvSpPr/>
      </dsp:nvSpPr>
      <dsp:spPr>
        <a:xfrm>
          <a:off x="4017543" y="3383178"/>
          <a:ext cx="530961" cy="530961"/>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4137009" y="3383178"/>
        <a:ext cx="292029" cy="3995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3430C-0389-409A-90DF-99BDE5C231EB}">
      <dsp:nvSpPr>
        <dsp:cNvPr id="0" name=""/>
        <dsp:cNvSpPr/>
      </dsp:nvSpPr>
      <dsp:spPr>
        <a:xfrm>
          <a:off x="0" y="1237"/>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4524DA-B977-4391-A2FD-94F14EC99222}">
      <dsp:nvSpPr>
        <dsp:cNvPr id="0" name=""/>
        <dsp:cNvSpPr/>
      </dsp:nvSpPr>
      <dsp:spPr>
        <a:xfrm>
          <a:off x="0" y="1237"/>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Optionally </a:t>
          </a:r>
          <a:r>
            <a:rPr lang="en-US" sz="2200" b="1" kern="1200"/>
            <a:t>hide</a:t>
          </a:r>
          <a:r>
            <a:rPr lang="en-US" sz="2200" kern="1200"/>
            <a:t> the error message</a:t>
          </a:r>
        </a:p>
      </dsp:txBody>
      <dsp:txXfrm>
        <a:off x="0" y="1237"/>
        <a:ext cx="3329781" cy="844122"/>
      </dsp:txXfrm>
    </dsp:sp>
    <dsp:sp modelId="{BE3F3705-0C77-4E54-9A93-27CB2737372B}">
      <dsp:nvSpPr>
        <dsp:cNvPr id="0" name=""/>
        <dsp:cNvSpPr/>
      </dsp:nvSpPr>
      <dsp:spPr>
        <a:xfrm>
          <a:off x="0" y="845359"/>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0210D-36CD-4D84-8F13-96ED01FA59BE}">
      <dsp:nvSpPr>
        <dsp:cNvPr id="0" name=""/>
        <dsp:cNvSpPr/>
      </dsp:nvSpPr>
      <dsp:spPr>
        <a:xfrm>
          <a:off x="0" y="845359"/>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Write logic to </a:t>
          </a:r>
          <a:r>
            <a:rPr lang="en-US" sz="2200" b="1" kern="1200"/>
            <a:t>handle</a:t>
          </a:r>
          <a:r>
            <a:rPr lang="en-US" sz="2200" kern="1200"/>
            <a:t> errors appropriately</a:t>
          </a:r>
        </a:p>
      </dsp:txBody>
      <dsp:txXfrm>
        <a:off x="0" y="845359"/>
        <a:ext cx="3329781" cy="844122"/>
      </dsp:txXfrm>
    </dsp:sp>
    <dsp:sp modelId="{8D247455-7353-4B52-9102-CCFFCE8A238C}">
      <dsp:nvSpPr>
        <dsp:cNvPr id="0" name=""/>
        <dsp:cNvSpPr/>
      </dsp:nvSpPr>
      <dsp:spPr>
        <a:xfrm>
          <a:off x="0" y="1689482"/>
          <a:ext cx="33297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2A85BC-DC0B-42CC-AE63-90C14083AB62}">
      <dsp:nvSpPr>
        <dsp:cNvPr id="0" name=""/>
        <dsp:cNvSpPr/>
      </dsp:nvSpPr>
      <dsp:spPr>
        <a:xfrm>
          <a:off x="0" y="1689482"/>
          <a:ext cx="3329781" cy="844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endParaRPr lang="en-US" sz="2200" kern="1200"/>
        </a:p>
      </dsp:txBody>
      <dsp:txXfrm>
        <a:off x="0" y="1689482"/>
        <a:ext cx="3329781" cy="84412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3F5D5-11A7-4EBD-AB2A-32B587777418}">
      <dsp:nvSpPr>
        <dsp:cNvPr id="0" name=""/>
        <dsp:cNvSpPr/>
      </dsp:nvSpPr>
      <dsp:spPr>
        <a:xfrm>
          <a:off x="0" y="35167"/>
          <a:ext cx="10880725" cy="561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Design</a:t>
          </a:r>
          <a:r>
            <a:rPr lang="en-US" sz="2000" kern="1200"/>
            <a:t> Time Errors</a:t>
          </a:r>
        </a:p>
      </dsp:txBody>
      <dsp:txXfrm>
        <a:off x="27415" y="62582"/>
        <a:ext cx="10825895" cy="506770"/>
      </dsp:txXfrm>
    </dsp:sp>
    <dsp:sp modelId="{7AF8DD4D-1DF9-4453-B18B-6722014DB2E3}">
      <dsp:nvSpPr>
        <dsp:cNvPr id="0" name=""/>
        <dsp:cNvSpPr/>
      </dsp:nvSpPr>
      <dsp:spPr>
        <a:xfrm>
          <a:off x="0" y="596767"/>
          <a:ext cx="10880725" cy="1117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a:t>Syntax</a:t>
          </a:r>
          <a:r>
            <a:rPr lang="en-US" sz="2000" kern="1200"/>
            <a:t> errors</a:t>
          </a:r>
        </a:p>
        <a:p>
          <a:pPr marL="228600" lvl="1" indent="-228600" algn="l" defTabSz="889000">
            <a:lnSpc>
              <a:spcPct val="90000"/>
            </a:lnSpc>
            <a:spcBef>
              <a:spcPct val="0"/>
            </a:spcBef>
            <a:spcAft>
              <a:spcPct val="20000"/>
            </a:spcAft>
            <a:buChar char="•"/>
          </a:pPr>
          <a:r>
            <a:rPr lang="en-US" sz="2000" b="1" kern="1200"/>
            <a:t>No exception </a:t>
          </a:r>
          <a:r>
            <a:rPr lang="en-US" sz="2000" kern="1200"/>
            <a:t>object created</a:t>
          </a:r>
        </a:p>
        <a:p>
          <a:pPr marL="228600" lvl="1" indent="-228600" algn="l" defTabSz="889000">
            <a:lnSpc>
              <a:spcPct val="90000"/>
            </a:lnSpc>
            <a:spcBef>
              <a:spcPct val="0"/>
            </a:spcBef>
            <a:spcAft>
              <a:spcPct val="20000"/>
            </a:spcAft>
            <a:buChar char="•"/>
          </a:pPr>
          <a:r>
            <a:rPr lang="en-US" sz="2000" kern="1200"/>
            <a:t>Code </a:t>
          </a:r>
          <a:r>
            <a:rPr lang="en-US" sz="2000" b="1" kern="1200"/>
            <a:t>unable</a:t>
          </a:r>
          <a:r>
            <a:rPr lang="en-US" sz="2000" kern="1200"/>
            <a:t> to execute</a:t>
          </a:r>
        </a:p>
      </dsp:txBody>
      <dsp:txXfrm>
        <a:off x="0" y="596767"/>
        <a:ext cx="10880725" cy="1117800"/>
      </dsp:txXfrm>
    </dsp:sp>
    <dsp:sp modelId="{4629E081-81D2-4582-A2BA-742FDD6A68FE}">
      <dsp:nvSpPr>
        <dsp:cNvPr id="0" name=""/>
        <dsp:cNvSpPr/>
      </dsp:nvSpPr>
      <dsp:spPr>
        <a:xfrm>
          <a:off x="0" y="1714567"/>
          <a:ext cx="10880725" cy="561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Runtime</a:t>
          </a:r>
          <a:r>
            <a:rPr lang="en-US" sz="2000" kern="1200"/>
            <a:t> Errors</a:t>
          </a:r>
        </a:p>
      </dsp:txBody>
      <dsp:txXfrm>
        <a:off x="27415" y="1741982"/>
        <a:ext cx="10825895" cy="506770"/>
      </dsp:txXfrm>
    </dsp:sp>
    <dsp:sp modelId="{00CCB998-6F0D-472D-B2FF-CA60FBDBEED4}">
      <dsp:nvSpPr>
        <dsp:cNvPr id="0" name=""/>
        <dsp:cNvSpPr/>
      </dsp:nvSpPr>
      <dsp:spPr>
        <a:xfrm>
          <a:off x="0" y="2276167"/>
          <a:ext cx="10880725" cy="729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Occur during code </a:t>
          </a:r>
          <a:r>
            <a:rPr lang="en-US" sz="2000" b="1" kern="1200"/>
            <a:t>execution</a:t>
          </a:r>
        </a:p>
        <a:p>
          <a:pPr marL="228600" lvl="1" indent="-228600" algn="l" defTabSz="889000">
            <a:lnSpc>
              <a:spcPct val="90000"/>
            </a:lnSpc>
            <a:spcBef>
              <a:spcPct val="0"/>
            </a:spcBef>
            <a:spcAft>
              <a:spcPct val="20000"/>
            </a:spcAft>
            <a:buChar char="•"/>
          </a:pPr>
          <a:r>
            <a:rPr lang="en-US" sz="2000" b="1" kern="1200"/>
            <a:t>Creates</a:t>
          </a:r>
          <a:r>
            <a:rPr lang="en-US" sz="2000" kern="1200"/>
            <a:t> an </a:t>
          </a:r>
          <a:r>
            <a:rPr lang="en-US" sz="2000" b="1" kern="1200"/>
            <a:t>exception</a:t>
          </a:r>
          <a:r>
            <a:rPr lang="en-US" sz="2000" kern="1200"/>
            <a:t> object in the </a:t>
          </a:r>
          <a:r>
            <a:rPr lang="en-US" sz="2000" b="1" kern="1200"/>
            <a:t>$Error </a:t>
          </a:r>
          <a:r>
            <a:rPr lang="en-US" sz="2000" kern="1200"/>
            <a:t>automatic variable</a:t>
          </a:r>
        </a:p>
      </dsp:txBody>
      <dsp:txXfrm>
        <a:off x="0" y="2276167"/>
        <a:ext cx="10880725" cy="729675"/>
      </dsp:txXfrm>
    </dsp:sp>
    <dsp:sp modelId="{3FBABF3D-2F55-4E5F-951A-151AE4598E83}">
      <dsp:nvSpPr>
        <dsp:cNvPr id="0" name=""/>
        <dsp:cNvSpPr/>
      </dsp:nvSpPr>
      <dsp:spPr>
        <a:xfrm>
          <a:off x="330338" y="3005849"/>
          <a:ext cx="7501824" cy="561600"/>
        </a:xfrm>
        <a:prstGeom prst="roundRect">
          <a:avLst/>
        </a:prstGeom>
        <a:gradFill rotWithShape="1">
          <a:gsLst>
            <a:gs pos="0">
              <a:schemeClr val="accent5">
                <a:lumMod val="110000"/>
                <a:satMod val="105000"/>
                <a:tint val="67000"/>
              </a:schemeClr>
            </a:gs>
            <a:gs pos="50000">
              <a:schemeClr val="accent5">
                <a:lumMod val="105000"/>
                <a:satMod val="103000"/>
                <a:tint val="73000"/>
              </a:schemeClr>
            </a:gs>
            <a:gs pos="100000">
              <a:schemeClr val="accent5">
                <a:lumMod val="105000"/>
                <a:satMod val="109000"/>
                <a:tint val="81000"/>
              </a:schemeClr>
            </a:gs>
          </a:gsLst>
          <a:lin ang="5400000" scaled="0"/>
        </a:gradFill>
        <a:ln w="6350" cap="flat" cmpd="sng" algn="ctr">
          <a:solidFill>
            <a:schemeClr val="accent5"/>
          </a:solidFill>
          <a:prstDash val="solid"/>
          <a:miter lim="800000"/>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Terminating</a:t>
          </a:r>
        </a:p>
      </dsp:txBody>
      <dsp:txXfrm>
        <a:off x="357753" y="3033264"/>
        <a:ext cx="7446994" cy="506770"/>
      </dsp:txXfrm>
    </dsp:sp>
    <dsp:sp modelId="{8098AF93-E156-4815-83B5-1E71AF597B15}">
      <dsp:nvSpPr>
        <dsp:cNvPr id="0" name=""/>
        <dsp:cNvSpPr/>
      </dsp:nvSpPr>
      <dsp:spPr>
        <a:xfrm>
          <a:off x="225013" y="3567442"/>
          <a:ext cx="10522749" cy="729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Code statement </a:t>
          </a:r>
          <a:r>
            <a:rPr lang="en-US" sz="2000" b="1" kern="1200"/>
            <a:t>immediately</a:t>
          </a:r>
          <a:r>
            <a:rPr lang="en-US" sz="2000" kern="1200"/>
            <a:t> </a:t>
          </a:r>
          <a:r>
            <a:rPr lang="en-US" sz="2000" b="1" kern="1200"/>
            <a:t>stops</a:t>
          </a:r>
        </a:p>
        <a:p>
          <a:pPr marL="228600" lvl="1" indent="-228600" algn="l" defTabSz="889000">
            <a:lnSpc>
              <a:spcPct val="90000"/>
            </a:lnSpc>
            <a:spcBef>
              <a:spcPct val="0"/>
            </a:spcBef>
            <a:spcAft>
              <a:spcPct val="20000"/>
            </a:spcAft>
            <a:buChar char="•"/>
          </a:pPr>
          <a:r>
            <a:rPr lang="en-US" sz="2000" kern="1200"/>
            <a:t>Will stop function/script if not handled		    </a:t>
          </a:r>
        </a:p>
      </dsp:txBody>
      <dsp:txXfrm>
        <a:off x="225013" y="3567442"/>
        <a:ext cx="10522749" cy="729675"/>
      </dsp:txXfrm>
    </dsp:sp>
    <dsp:sp modelId="{6CD1CEFF-7E15-429E-AC75-487FE9B71C17}">
      <dsp:nvSpPr>
        <dsp:cNvPr id="0" name=""/>
        <dsp:cNvSpPr/>
      </dsp:nvSpPr>
      <dsp:spPr>
        <a:xfrm>
          <a:off x="330338" y="4297124"/>
          <a:ext cx="7501824" cy="561600"/>
        </a:xfrm>
        <a:prstGeom prst="roundRect">
          <a:avLst/>
        </a:prstGeom>
        <a:gradFill rotWithShape="1">
          <a:gsLst>
            <a:gs pos="0">
              <a:schemeClr val="accent5">
                <a:lumMod val="110000"/>
                <a:satMod val="105000"/>
                <a:tint val="67000"/>
              </a:schemeClr>
            </a:gs>
            <a:gs pos="50000">
              <a:schemeClr val="accent5">
                <a:lumMod val="105000"/>
                <a:satMod val="103000"/>
                <a:tint val="73000"/>
              </a:schemeClr>
            </a:gs>
            <a:gs pos="100000">
              <a:schemeClr val="accent5">
                <a:lumMod val="105000"/>
                <a:satMod val="109000"/>
                <a:tint val="81000"/>
              </a:schemeClr>
            </a:gs>
          </a:gsLst>
          <a:lin ang="5400000" scaled="0"/>
        </a:gradFill>
        <a:ln w="6350" cap="flat" cmpd="sng" algn="ctr">
          <a:solidFill>
            <a:schemeClr val="accent5"/>
          </a:solidFill>
          <a:prstDash val="solid"/>
          <a:miter lim="800000"/>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Non-Terminating</a:t>
          </a:r>
        </a:p>
      </dsp:txBody>
      <dsp:txXfrm>
        <a:off x="357753" y="4324539"/>
        <a:ext cx="7446994" cy="506770"/>
      </dsp:txXfrm>
    </dsp:sp>
    <dsp:sp modelId="{BC794D44-C4FF-4CF0-9700-ADAD5ECE35C5}">
      <dsp:nvSpPr>
        <dsp:cNvPr id="0" name=""/>
        <dsp:cNvSpPr/>
      </dsp:nvSpPr>
      <dsp:spPr>
        <a:xfrm>
          <a:off x="225013" y="4858717"/>
          <a:ext cx="10522749" cy="729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Code execution will </a:t>
          </a:r>
          <a:r>
            <a:rPr lang="en-US" sz="2000" b="1" kern="1200"/>
            <a:t>continue</a:t>
          </a:r>
          <a:endParaRPr lang="en-US" sz="2000" kern="1200"/>
        </a:p>
        <a:p>
          <a:pPr marL="228600" lvl="1" indent="-228600" algn="l" defTabSz="889000">
            <a:lnSpc>
              <a:spcPct val="90000"/>
            </a:lnSpc>
            <a:spcBef>
              <a:spcPct val="0"/>
            </a:spcBef>
            <a:spcAft>
              <a:spcPct val="20000"/>
            </a:spcAft>
            <a:buChar char="•"/>
          </a:pPr>
          <a:r>
            <a:rPr lang="en-US" sz="2000" kern="1200"/>
            <a:t>Can optionally be </a:t>
          </a:r>
          <a:r>
            <a:rPr lang="en-US" sz="2000" b="1" kern="1200"/>
            <a:t>converted</a:t>
          </a:r>
          <a:r>
            <a:rPr lang="en-US" sz="2000" kern="1200"/>
            <a:t> to terminating error</a:t>
          </a:r>
        </a:p>
      </dsp:txBody>
      <dsp:txXfrm>
        <a:off x="225013" y="4858717"/>
        <a:ext cx="10522749" cy="72967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3F5D5-11A7-4EBD-AB2A-32B587777418}">
      <dsp:nvSpPr>
        <dsp:cNvPr id="0" name=""/>
        <dsp:cNvSpPr/>
      </dsp:nvSpPr>
      <dsp:spPr>
        <a:xfrm>
          <a:off x="0" y="433181"/>
          <a:ext cx="502919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Design</a:t>
          </a:r>
          <a:r>
            <a:rPr lang="en-US" sz="2000" kern="1200"/>
            <a:t> Time Errors</a:t>
          </a:r>
        </a:p>
      </dsp:txBody>
      <dsp:txXfrm>
        <a:off x="59399" y="492580"/>
        <a:ext cx="4910401" cy="1098002"/>
      </dsp:txXfrm>
    </dsp:sp>
    <dsp:sp modelId="{7AF8DD4D-1DF9-4453-B18B-6722014DB2E3}">
      <dsp:nvSpPr>
        <dsp:cNvPr id="0" name=""/>
        <dsp:cNvSpPr/>
      </dsp:nvSpPr>
      <dsp:spPr>
        <a:xfrm>
          <a:off x="0" y="1649981"/>
          <a:ext cx="5029199"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67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a:t>Syntax</a:t>
          </a:r>
          <a:r>
            <a:rPr lang="en-US" sz="2000" kern="1200"/>
            <a:t> errors</a:t>
          </a:r>
        </a:p>
        <a:p>
          <a:pPr marL="228600" lvl="1" indent="-228600" algn="l" defTabSz="889000">
            <a:lnSpc>
              <a:spcPct val="90000"/>
            </a:lnSpc>
            <a:spcBef>
              <a:spcPct val="0"/>
            </a:spcBef>
            <a:spcAft>
              <a:spcPct val="20000"/>
            </a:spcAft>
            <a:buChar char="•"/>
          </a:pPr>
          <a:r>
            <a:rPr lang="en-US" sz="2000" b="1" kern="1200"/>
            <a:t>No exception </a:t>
          </a:r>
          <a:r>
            <a:rPr lang="en-US" sz="2000" kern="1200"/>
            <a:t>object created</a:t>
          </a:r>
        </a:p>
        <a:p>
          <a:pPr marL="228600" lvl="1" indent="-228600" algn="l" defTabSz="889000">
            <a:lnSpc>
              <a:spcPct val="90000"/>
            </a:lnSpc>
            <a:spcBef>
              <a:spcPct val="0"/>
            </a:spcBef>
            <a:spcAft>
              <a:spcPct val="20000"/>
            </a:spcAft>
            <a:buChar char="•"/>
          </a:pPr>
          <a:r>
            <a:rPr lang="en-US" sz="2000" kern="1200"/>
            <a:t>Code </a:t>
          </a:r>
          <a:r>
            <a:rPr lang="en-US" sz="2000" b="1" kern="1200"/>
            <a:t>unable</a:t>
          </a:r>
          <a:r>
            <a:rPr lang="en-US" sz="2000" kern="1200"/>
            <a:t> to execute</a:t>
          </a:r>
        </a:p>
      </dsp:txBody>
      <dsp:txXfrm>
        <a:off x="0" y="1649981"/>
        <a:ext cx="5029199" cy="1110037"/>
      </dsp:txXfrm>
    </dsp:sp>
    <dsp:sp modelId="{4629E081-81D2-4582-A2BA-742FDD6A68FE}">
      <dsp:nvSpPr>
        <dsp:cNvPr id="0" name=""/>
        <dsp:cNvSpPr/>
      </dsp:nvSpPr>
      <dsp:spPr>
        <a:xfrm>
          <a:off x="0" y="2760018"/>
          <a:ext cx="502919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Runtime</a:t>
          </a:r>
          <a:r>
            <a:rPr lang="en-US" sz="2000" kern="1200"/>
            <a:t> Errors</a:t>
          </a:r>
        </a:p>
      </dsp:txBody>
      <dsp:txXfrm>
        <a:off x="59399" y="2819417"/>
        <a:ext cx="4910401" cy="1098002"/>
      </dsp:txXfrm>
    </dsp:sp>
    <dsp:sp modelId="{00CCB998-6F0D-472D-B2FF-CA60FBDBEED4}">
      <dsp:nvSpPr>
        <dsp:cNvPr id="0" name=""/>
        <dsp:cNvSpPr/>
      </dsp:nvSpPr>
      <dsp:spPr>
        <a:xfrm>
          <a:off x="0" y="3976818"/>
          <a:ext cx="502919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67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Occur during code </a:t>
          </a:r>
          <a:r>
            <a:rPr lang="en-US" sz="2000" b="1" kern="1200"/>
            <a:t>execution</a:t>
          </a:r>
        </a:p>
        <a:p>
          <a:pPr marL="228600" lvl="1" indent="-228600" algn="l" defTabSz="889000">
            <a:lnSpc>
              <a:spcPct val="90000"/>
            </a:lnSpc>
            <a:spcBef>
              <a:spcPct val="0"/>
            </a:spcBef>
            <a:spcAft>
              <a:spcPct val="20000"/>
            </a:spcAft>
            <a:buChar char="•"/>
          </a:pPr>
          <a:r>
            <a:rPr lang="en-US" sz="2000" b="0" kern="1200"/>
            <a:t>Creates</a:t>
          </a:r>
          <a:r>
            <a:rPr lang="en-US" sz="2000" kern="1200"/>
            <a:t> an </a:t>
          </a:r>
          <a:r>
            <a:rPr lang="en-US" sz="2000" b="1" kern="1200"/>
            <a:t>exception</a:t>
          </a:r>
          <a:r>
            <a:rPr lang="en-US" sz="2000" kern="1200"/>
            <a:t> object in the </a:t>
          </a:r>
          <a:r>
            <a:rPr lang="en-US" sz="2000" b="1" kern="1200"/>
            <a:t>$Error </a:t>
          </a:r>
          <a:r>
            <a:rPr lang="en-US" sz="2000" kern="1200"/>
            <a:t>automatic variable</a:t>
          </a:r>
        </a:p>
      </dsp:txBody>
      <dsp:txXfrm>
        <a:off x="0" y="3976818"/>
        <a:ext cx="5029199" cy="10764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67F799-072F-432D-A7ED-8786A4C78392}">
      <dsp:nvSpPr>
        <dsp:cNvPr id="0" name=""/>
        <dsp:cNvSpPr/>
      </dsp:nvSpPr>
      <dsp:spPr>
        <a:xfrm>
          <a:off x="26" y="803057"/>
          <a:ext cx="2563713" cy="1025485"/>
        </a:xfrm>
        <a:prstGeom prst="rect">
          <a:avLst/>
        </a:prstGeom>
        <a:solidFill>
          <a:srgbClr val="002060"/>
        </a:solidFill>
        <a:ln w="6350" cap="flat" cmpd="sng" algn="ctr">
          <a:solidFill>
            <a:schemeClr val="accent5"/>
          </a:solidFill>
          <a:prstDash val="solid"/>
          <a:miter lim="800000"/>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bg1"/>
              </a:solidFill>
            </a:rPr>
            <a:t>Terminating</a:t>
          </a:r>
        </a:p>
      </dsp:txBody>
      <dsp:txXfrm>
        <a:off x="26" y="803057"/>
        <a:ext cx="2563713" cy="1025485"/>
      </dsp:txXfrm>
    </dsp:sp>
    <dsp:sp modelId="{EC4B44A9-1773-4A6F-AE30-483C293FC892}">
      <dsp:nvSpPr>
        <dsp:cNvPr id="0" name=""/>
        <dsp:cNvSpPr/>
      </dsp:nvSpPr>
      <dsp:spPr>
        <a:xfrm>
          <a:off x="26" y="1828542"/>
          <a:ext cx="2563713"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Code statement </a:t>
          </a:r>
          <a:r>
            <a:rPr lang="en-US" sz="2000" b="0" kern="1200"/>
            <a:t>immediately </a:t>
          </a:r>
          <a:r>
            <a:rPr lang="en-US" sz="2000" b="1" kern="1200"/>
            <a:t>stops</a:t>
          </a:r>
        </a:p>
        <a:p>
          <a:pPr marL="228600" lvl="1" indent="-228600" algn="l" defTabSz="889000">
            <a:lnSpc>
              <a:spcPct val="90000"/>
            </a:lnSpc>
            <a:spcBef>
              <a:spcPct val="0"/>
            </a:spcBef>
            <a:spcAft>
              <a:spcPct val="15000"/>
            </a:spcAft>
            <a:buChar char="•"/>
          </a:pPr>
          <a:r>
            <a:rPr lang="en-US" sz="2000" kern="1200"/>
            <a:t>Will stop function or script if </a:t>
          </a:r>
          <a:r>
            <a:rPr lang="en-US" sz="2000" b="1" kern="1200"/>
            <a:t>not</a:t>
          </a:r>
          <a:r>
            <a:rPr lang="en-US" sz="2000" kern="1200"/>
            <a:t> handled</a:t>
          </a:r>
        </a:p>
      </dsp:txBody>
      <dsp:txXfrm>
        <a:off x="26" y="1828542"/>
        <a:ext cx="2563713" cy="2854800"/>
      </dsp:txXfrm>
    </dsp:sp>
    <dsp:sp modelId="{2064B70A-8AE3-4703-A83F-4DE4FA2B7A38}">
      <dsp:nvSpPr>
        <dsp:cNvPr id="0" name=""/>
        <dsp:cNvSpPr/>
      </dsp:nvSpPr>
      <dsp:spPr>
        <a:xfrm>
          <a:off x="2922659" y="803057"/>
          <a:ext cx="2563713" cy="1025485"/>
        </a:xfrm>
        <a:prstGeom prst="rect">
          <a:avLst/>
        </a:prstGeom>
        <a:solidFill>
          <a:srgbClr val="002060"/>
        </a:solidFill>
        <a:ln w="6350" cap="flat" cmpd="sng" algn="ctr">
          <a:solidFill>
            <a:schemeClr val="accent5"/>
          </a:solidFill>
          <a:prstDash val="solid"/>
          <a:miter lim="800000"/>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bg1"/>
              </a:solidFill>
            </a:rPr>
            <a:t>Non-Terminating</a:t>
          </a:r>
        </a:p>
      </dsp:txBody>
      <dsp:txXfrm>
        <a:off x="2922659" y="803057"/>
        <a:ext cx="2563713" cy="1025485"/>
      </dsp:txXfrm>
    </dsp:sp>
    <dsp:sp modelId="{C97B27C3-3A2A-4C81-9FAA-BB9F35E9D353}">
      <dsp:nvSpPr>
        <dsp:cNvPr id="0" name=""/>
        <dsp:cNvSpPr/>
      </dsp:nvSpPr>
      <dsp:spPr>
        <a:xfrm>
          <a:off x="2922659" y="1828542"/>
          <a:ext cx="2563713" cy="2854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Code execution will </a:t>
          </a:r>
          <a:r>
            <a:rPr lang="en-US" sz="2000" b="1" kern="1200"/>
            <a:t>continue</a:t>
          </a:r>
          <a:endParaRPr lang="en-US" sz="2000" kern="1200"/>
        </a:p>
        <a:p>
          <a:pPr marL="228600" lvl="1" indent="-228600" algn="l" defTabSz="889000">
            <a:lnSpc>
              <a:spcPct val="90000"/>
            </a:lnSpc>
            <a:spcBef>
              <a:spcPct val="0"/>
            </a:spcBef>
            <a:spcAft>
              <a:spcPct val="15000"/>
            </a:spcAft>
            <a:buChar char="•"/>
          </a:pPr>
          <a:r>
            <a:rPr lang="en-US" sz="2000" b="1" kern="1200"/>
            <a:t>Less severe </a:t>
          </a:r>
          <a:r>
            <a:rPr lang="en-US" sz="2000" kern="1200"/>
            <a:t>than terminating error</a:t>
          </a:r>
        </a:p>
        <a:p>
          <a:pPr marL="228600" lvl="1" indent="-228600" algn="l" defTabSz="889000">
            <a:lnSpc>
              <a:spcPct val="90000"/>
            </a:lnSpc>
            <a:spcBef>
              <a:spcPct val="0"/>
            </a:spcBef>
            <a:spcAft>
              <a:spcPct val="15000"/>
            </a:spcAft>
            <a:buChar char="•"/>
          </a:pPr>
          <a:r>
            <a:rPr lang="en-US" sz="2000" kern="1200"/>
            <a:t>Can optionally be </a:t>
          </a:r>
          <a:r>
            <a:rPr lang="en-US" sz="2000" b="1" kern="1200"/>
            <a:t>converted</a:t>
          </a:r>
          <a:r>
            <a:rPr lang="en-US" sz="2000" kern="1200"/>
            <a:t> to terminating error</a:t>
          </a:r>
          <a:endParaRPr lang="en-US" sz="2000" b="1" kern="1200"/>
        </a:p>
      </dsp:txBody>
      <dsp:txXfrm>
        <a:off x="2922659" y="1828542"/>
        <a:ext cx="2563713"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0.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D72C90-6788-406B-ACC2-040925FA3336}" type="datetimeFigureOut">
              <a:rPr lang="en-US"/>
              <a:t>6/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96CE7-3200-4986-8BE6-1DDA53D4554B}" type="slidenum">
              <a:rPr lang="en-US"/>
              <a:t>‹#›</a:t>
            </a:fld>
            <a:endParaRPr lang="en-US"/>
          </a:p>
        </p:txBody>
      </p:sp>
    </p:spTree>
    <p:extLst>
      <p:ext uri="{BB962C8B-B14F-4D97-AF65-F5344CB8AC3E}">
        <p14:creationId xmlns:p14="http://schemas.microsoft.com/office/powerpoint/2010/main" val="2369722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6/28/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a:t>Version: 12/10/2019 15:05:50</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941905309"/>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63514432"/>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hing</a:t>
            </a:r>
          </a:p>
          <a:p>
            <a:r>
              <a:rPr lang="en-US" dirty="0"/>
              <a:t>- Can set </a:t>
            </a:r>
            <a:r>
              <a:rPr lang="en-US" dirty="0" err="1"/>
              <a:t>ErrorActionPreference</a:t>
            </a:r>
            <a:r>
              <a:rPr lang="en-US" dirty="0"/>
              <a:t> to ‘</a:t>
            </a:r>
            <a:r>
              <a:rPr lang="en-US" dirty="0" err="1"/>
              <a:t>SilentlyContinue</a:t>
            </a:r>
            <a:r>
              <a:rPr lang="en-US" dirty="0"/>
              <a:t>’ or “Ignore” to hide red error messages</a:t>
            </a:r>
          </a:p>
          <a:p>
            <a:endParaRPr lang="en-US" dirty="0"/>
          </a:p>
          <a:p>
            <a:r>
              <a:rPr lang="en-US" dirty="0"/>
              <a:t>Handle the Errors with Co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200" dirty="0"/>
              <a:t>Actions can be: ignore, process, log, raise, or halt further execution</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aseline="0" dirty="0"/>
              <a:t>Handle Terminating</a:t>
            </a:r>
          </a:p>
          <a:p>
            <a:pPr marL="171450" lvl="0" indent="-171450">
              <a:buFontTx/>
              <a:buChar char="-"/>
            </a:pPr>
            <a:r>
              <a:rPr lang="en-US" dirty="0"/>
              <a:t>Requires Try, Catch, Finally or a Trap statement</a:t>
            </a:r>
          </a:p>
          <a:p>
            <a:pPr marL="171450" lvl="0" indent="-171450">
              <a:buFontTx/>
              <a:buChar char="-"/>
            </a:pPr>
            <a:r>
              <a:rPr lang="en-US" dirty="0"/>
              <a:t>Enters a child scope</a:t>
            </a:r>
          </a:p>
          <a:p>
            <a:pPr lvl="0"/>
            <a:endParaRPr lang="en-US"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Handle </a:t>
            </a:r>
            <a:r>
              <a:rPr lang="en-US" dirty="0"/>
              <a:t>Non-Terminating</a:t>
            </a:r>
          </a:p>
          <a:p>
            <a:pPr marL="171450" lvl="0" indent="-171450">
              <a:buFontTx/>
              <a:buChar char="-"/>
            </a:pPr>
            <a:r>
              <a:rPr lang="en-US" dirty="0"/>
              <a:t>Test for error and run handling code</a:t>
            </a:r>
          </a:p>
          <a:p>
            <a:pPr marL="171450" lvl="0" indent="-171450">
              <a:buFontTx/>
              <a:buChar char="-"/>
            </a:pPr>
            <a:r>
              <a:rPr lang="en-US" dirty="0"/>
              <a:t>Can be converted into terminating error:</a:t>
            </a:r>
          </a:p>
          <a:p>
            <a:pPr marL="628650" lvl="1" indent="-171450">
              <a:buFontTx/>
              <a:buChar char="-"/>
            </a:pPr>
            <a:r>
              <a:rPr lang="en-US" dirty="0"/>
              <a:t>A. “Stop” with –</a:t>
            </a:r>
            <a:r>
              <a:rPr lang="en-US" dirty="0" err="1"/>
              <a:t>ErrorAction</a:t>
            </a:r>
            <a:r>
              <a:rPr lang="en-US" dirty="0"/>
              <a:t> or $</a:t>
            </a:r>
            <a:r>
              <a:rPr lang="en-US" dirty="0" err="1"/>
              <a:t>ErrorActionPreference</a:t>
            </a:r>
            <a:endParaRPr lang="en-US" dirty="0"/>
          </a:p>
          <a:p>
            <a:pPr marL="628650" lvl="1" indent="-171450">
              <a:buFontTx/>
              <a:buChar char="-"/>
            </a:pPr>
            <a:r>
              <a:rPr lang="en-US" dirty="0"/>
              <a:t>B. Use the "throw" keyword</a:t>
            </a:r>
          </a:p>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smtClean="0"/>
              <a:t>11</a:t>
            </a:fld>
            <a:endParaRPr lang="en-US"/>
          </a:p>
        </p:txBody>
      </p:sp>
    </p:spTree>
    <p:extLst>
      <p:ext uri="{BB962C8B-B14F-4D97-AF65-F5344CB8AC3E}">
        <p14:creationId xmlns:p14="http://schemas.microsoft.com/office/powerpoint/2010/main" val="1585718197"/>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763298780"/>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821018082"/>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975322666"/>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Intro to Errors</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r>
              <a:rPr lang="en-US" sz="1100"/>
              <a:t> </a:t>
            </a:r>
            <a:r>
              <a:rPr lang="en-US" sz="1800">
                <a:solidFill>
                  <a:srgbClr val="006400"/>
                </a:solidFill>
                <a:latin typeface="Lucida Console" panose="020B0609040504020204" pitchFamily="49" charset="0"/>
              </a:rPr>
              <a:t># non-terminating error</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a:t>
            </a:r>
            <a:r>
              <a:rPr lang="en-US" sz="1800" err="1">
                <a:solidFill>
                  <a:srgbClr val="A82D00"/>
                </a:solidFill>
                <a:latin typeface="Lucida Console" panose="020B0609040504020204" pitchFamily="49" charset="0"/>
              </a:rPr>
              <a:t>SvcArray</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0000FF"/>
                </a:solidFill>
                <a:latin typeface="Lucida Console" panose="020B0609040504020204" pitchFamily="49" charset="0"/>
              </a:rPr>
              <a:t>Get-Process</a:t>
            </a:r>
            <a:r>
              <a:rPr lang="en-US" sz="1800">
                <a:solidFill>
                  <a:prstClr val="black"/>
                </a:solidFill>
                <a:latin typeface="Lucida Console" panose="020B0609040504020204" pitchFamily="49" charset="0"/>
              </a:rPr>
              <a:t> </a:t>
            </a:r>
            <a:r>
              <a:rPr lang="en-US" sz="1800" err="1">
                <a:solidFill>
                  <a:srgbClr val="8A2BE2"/>
                </a:solidFill>
                <a:latin typeface="Lucida Console" panose="020B0609040504020204" pitchFamily="49" charset="0"/>
              </a:rPr>
              <a:t>system</a:t>
            </a:r>
            <a:r>
              <a:rPr lang="en-US" sz="1800" err="1">
                <a:solidFill>
                  <a:srgbClr val="696969"/>
                </a:solidFill>
                <a:latin typeface="Lucida Console" panose="020B0609040504020204" pitchFamily="49" charset="0"/>
              </a:rPr>
              <a:t>,</a:t>
            </a:r>
            <a:r>
              <a:rPr lang="en-US" sz="1800" err="1">
                <a:solidFill>
                  <a:srgbClr val="8A2BE2"/>
                </a:solidFill>
                <a:latin typeface="Lucida Console" panose="020B0609040504020204" pitchFamily="49" charset="0"/>
              </a:rPr>
              <a:t>notexist</a:t>
            </a:r>
            <a:r>
              <a:rPr lang="en-US" sz="1800" err="1">
                <a:solidFill>
                  <a:srgbClr val="696969"/>
                </a:solidFill>
                <a:latin typeface="Lucida Console" panose="020B0609040504020204" pitchFamily="49" charset="0"/>
              </a:rPr>
              <a:t>,</a:t>
            </a:r>
            <a:r>
              <a:rPr lang="en-US" sz="1800" err="1">
                <a:solidFill>
                  <a:srgbClr val="8A2BE2"/>
                </a:solidFill>
                <a:latin typeface="Lucida Console" panose="020B0609040504020204" pitchFamily="49" charset="0"/>
              </a:rPr>
              <a:t>wininit</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prstClr val="black"/>
                </a:solidFill>
                <a:latin typeface="Lucida Console" panose="020B0609040504020204" pitchFamily="49" charset="0"/>
              </a:rPr>
              <a:t># look at array</a:t>
            </a:r>
          </a:p>
          <a:p>
            <a:r>
              <a:rPr lang="en-US" sz="1800">
                <a:solidFill>
                  <a:prstClr val="black"/>
                </a:solidFill>
                <a:latin typeface="Lucida Console" panose="020B0609040504020204" pitchFamily="49" charset="0"/>
              </a:rPr>
              <a:t>$</a:t>
            </a:r>
            <a:r>
              <a:rPr lang="en-US" sz="1800" err="1">
                <a:solidFill>
                  <a:prstClr val="black"/>
                </a:solidFill>
                <a:latin typeface="Lucida Console" panose="020B0609040504020204" pitchFamily="49" charset="0"/>
              </a:rPr>
              <a:t>SvcArray</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srgbClr val="006400"/>
                </a:solidFill>
                <a:latin typeface="Lucida Console" panose="020B0609040504020204" pitchFamily="49" charset="0"/>
              </a:rPr>
              <a:t># optionally hide the error</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a:t>
            </a:r>
            <a:r>
              <a:rPr lang="en-US" sz="1800" err="1">
                <a:solidFill>
                  <a:srgbClr val="A82D00"/>
                </a:solidFill>
                <a:latin typeface="Lucida Console" panose="020B0609040504020204" pitchFamily="49" charset="0"/>
              </a:rPr>
              <a:t>SvcArray</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0000FF"/>
                </a:solidFill>
                <a:latin typeface="Lucida Console" panose="020B0609040504020204" pitchFamily="49" charset="0"/>
              </a:rPr>
              <a:t>Get-Process</a:t>
            </a:r>
            <a:r>
              <a:rPr lang="en-US" sz="1800">
                <a:solidFill>
                  <a:prstClr val="black"/>
                </a:solidFill>
                <a:latin typeface="Lucida Console" panose="020B0609040504020204" pitchFamily="49" charset="0"/>
              </a:rPr>
              <a:t> </a:t>
            </a:r>
            <a:r>
              <a:rPr lang="en-US" sz="1800" err="1">
                <a:solidFill>
                  <a:srgbClr val="8A2BE2"/>
                </a:solidFill>
                <a:latin typeface="Lucida Console" panose="020B0609040504020204" pitchFamily="49" charset="0"/>
              </a:rPr>
              <a:t>idle</a:t>
            </a:r>
            <a:r>
              <a:rPr lang="en-US" sz="1800" err="1">
                <a:solidFill>
                  <a:srgbClr val="696969"/>
                </a:solidFill>
                <a:latin typeface="Lucida Console" panose="020B0609040504020204" pitchFamily="49" charset="0"/>
              </a:rPr>
              <a:t>,</a:t>
            </a:r>
            <a:r>
              <a:rPr lang="en-US" sz="1800" err="1">
                <a:solidFill>
                  <a:srgbClr val="8A2BE2"/>
                </a:solidFill>
                <a:latin typeface="Lucida Console" panose="020B0609040504020204" pitchFamily="49" charset="0"/>
              </a:rPr>
              <a:t>notexist</a:t>
            </a:r>
            <a:r>
              <a:rPr lang="en-US" sz="1800" err="1">
                <a:solidFill>
                  <a:srgbClr val="696969"/>
                </a:solidFill>
                <a:latin typeface="Lucida Console" panose="020B0609040504020204" pitchFamily="49" charset="0"/>
              </a:rPr>
              <a:t>,</a:t>
            </a:r>
            <a:r>
              <a:rPr lang="en-US" sz="1800" err="1">
                <a:solidFill>
                  <a:srgbClr val="8A2BE2"/>
                </a:solidFill>
                <a:latin typeface="Lucida Console" panose="020B0609040504020204" pitchFamily="49" charset="0"/>
              </a:rPr>
              <a:t>csrss</a:t>
            </a:r>
            <a:r>
              <a:rPr lang="en-US" sz="1800">
                <a:solidFill>
                  <a:prstClr val="black"/>
                </a:solidFill>
                <a:latin typeface="Lucida Console" panose="020B0609040504020204" pitchFamily="49" charset="0"/>
              </a:rPr>
              <a:t> </a:t>
            </a:r>
            <a:r>
              <a:rPr lang="en-US" sz="1800">
                <a:solidFill>
                  <a:srgbClr val="000080"/>
                </a:solidFill>
                <a:latin typeface="Lucida Console" panose="020B0609040504020204" pitchFamily="49" charset="0"/>
              </a:rPr>
              <a:t>-</a:t>
            </a:r>
            <a:r>
              <a:rPr lang="en-US" sz="1800" err="1">
                <a:solidFill>
                  <a:srgbClr val="000080"/>
                </a:solidFill>
                <a:latin typeface="Lucida Console" panose="020B0609040504020204" pitchFamily="49" charset="0"/>
              </a:rPr>
              <a:t>ErrorAction</a:t>
            </a:r>
            <a:r>
              <a:rPr lang="en-US" sz="1800">
                <a:solidFill>
                  <a:prstClr val="black"/>
                </a:solidFill>
                <a:latin typeface="Lucida Console" panose="020B0609040504020204" pitchFamily="49" charset="0"/>
              </a:rPr>
              <a:t> </a:t>
            </a:r>
            <a:r>
              <a:rPr lang="en-US" sz="1800" err="1">
                <a:solidFill>
                  <a:srgbClr val="8A2BE2"/>
                </a:solidFill>
                <a:latin typeface="Lucida Console" panose="020B0609040504020204" pitchFamily="49" charset="0"/>
              </a:rPr>
              <a:t>SilentlyContinue</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prstClr val="black"/>
                </a:solidFill>
                <a:latin typeface="Lucida Console" panose="020B0609040504020204" pitchFamily="49" charset="0"/>
              </a:rPr>
              <a:t># look at array</a:t>
            </a:r>
          </a:p>
          <a:p>
            <a:r>
              <a:rPr lang="en-US" sz="1800">
                <a:solidFill>
                  <a:prstClr val="black"/>
                </a:solidFill>
                <a:latin typeface="Lucida Console" panose="020B0609040504020204" pitchFamily="49" charset="0"/>
              </a:rPr>
              <a:t>$</a:t>
            </a:r>
            <a:r>
              <a:rPr lang="en-US" sz="1800" err="1">
                <a:solidFill>
                  <a:prstClr val="black"/>
                </a:solidFill>
                <a:latin typeface="Lucida Console" panose="020B0609040504020204" pitchFamily="49" charset="0"/>
              </a:rPr>
              <a:t>SvcArray</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srgbClr val="006400"/>
                </a:solidFill>
                <a:latin typeface="Lucida Console" panose="020B0609040504020204" pitchFamily="49" charset="0"/>
              </a:rPr>
              <a:t># debugged code (replace ‘</a:t>
            </a:r>
            <a:r>
              <a:rPr lang="en-US" sz="1800" err="1">
                <a:solidFill>
                  <a:srgbClr val="006400"/>
                </a:solidFill>
                <a:latin typeface="Lucida Console" panose="020B0609040504020204" pitchFamily="49" charset="0"/>
              </a:rPr>
              <a:t>notexist</a:t>
            </a:r>
            <a:r>
              <a:rPr lang="en-US" sz="1800">
                <a:solidFill>
                  <a:srgbClr val="006400"/>
                </a:solidFill>
                <a:latin typeface="Lucida Console" panose="020B0609040504020204" pitchFamily="49" charset="0"/>
              </a:rPr>
              <a:t>’) to avoid error</a:t>
            </a:r>
          </a:p>
          <a:p>
            <a:r>
              <a:rPr lang="en-US" sz="1800">
                <a:solidFill>
                  <a:srgbClr val="A82D00"/>
                </a:solidFill>
                <a:latin typeface="Lucida Console" panose="020B0609040504020204" pitchFamily="49" charset="0"/>
              </a:rPr>
              <a:t>$</a:t>
            </a:r>
            <a:r>
              <a:rPr lang="en-US" sz="1800" err="1">
                <a:solidFill>
                  <a:srgbClr val="A82D00"/>
                </a:solidFill>
                <a:latin typeface="Lucida Console" panose="020B0609040504020204" pitchFamily="49" charset="0"/>
              </a:rPr>
              <a:t>SvcArray</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0000FF"/>
                </a:solidFill>
                <a:latin typeface="Lucida Console" panose="020B0609040504020204" pitchFamily="49" charset="0"/>
              </a:rPr>
              <a:t>Get-Process</a:t>
            </a:r>
            <a:r>
              <a:rPr lang="en-US" sz="1800">
                <a:solidFill>
                  <a:prstClr val="black"/>
                </a:solidFill>
                <a:latin typeface="Lucida Console" panose="020B0609040504020204" pitchFamily="49" charset="0"/>
              </a:rPr>
              <a:t> </a:t>
            </a:r>
            <a:r>
              <a:rPr lang="en-US" sz="1800" err="1">
                <a:solidFill>
                  <a:srgbClr val="8A2BE2"/>
                </a:solidFill>
                <a:latin typeface="Lucida Console" panose="020B0609040504020204" pitchFamily="49" charset="0"/>
              </a:rPr>
              <a:t>idle</a:t>
            </a:r>
            <a:r>
              <a:rPr lang="en-US" sz="1800" err="1">
                <a:solidFill>
                  <a:srgbClr val="696969"/>
                </a:solidFill>
                <a:latin typeface="Lucida Console" panose="020B0609040504020204" pitchFamily="49" charset="0"/>
              </a:rPr>
              <a:t>,</a:t>
            </a:r>
            <a:r>
              <a:rPr lang="en-US" sz="1800" err="1">
                <a:solidFill>
                  <a:srgbClr val="8A2BE2"/>
                </a:solidFill>
                <a:latin typeface="Lucida Console" panose="020B0609040504020204" pitchFamily="49" charset="0"/>
              </a:rPr>
              <a:t>csrss,svchost</a:t>
            </a:r>
            <a:r>
              <a:rPr lang="en-US" sz="1800">
                <a:solidFill>
                  <a:prstClr val="black"/>
                </a:solidFill>
                <a:latin typeface="Lucida Console" panose="020B0609040504020204" pitchFamily="49" charset="0"/>
              </a:rPr>
              <a:t> </a:t>
            </a:r>
          </a:p>
          <a:p>
            <a:endParaRPr lang="en-US" sz="1800">
              <a:solidFill>
                <a:prstClr val="black"/>
              </a:solidFill>
              <a:latin typeface="Lucida Console" panose="020B0609040504020204" pitchFamily="49" charset="0"/>
            </a:endParaRPr>
          </a:p>
          <a:p>
            <a:r>
              <a:rPr lang="en-US" sz="1800">
                <a:solidFill>
                  <a:prstClr val="black"/>
                </a:solidFill>
                <a:latin typeface="Lucida Console" panose="020B0609040504020204" pitchFamily="49" charset="0"/>
              </a:rPr>
              <a:t># look at array</a:t>
            </a:r>
          </a:p>
          <a:p>
            <a:r>
              <a:rPr lang="en-US" sz="1800">
                <a:solidFill>
                  <a:prstClr val="black"/>
                </a:solidFill>
                <a:latin typeface="Lucida Console" panose="020B0609040504020204" pitchFamily="49" charset="0"/>
              </a:rPr>
              <a:t>$</a:t>
            </a:r>
            <a:r>
              <a:rPr lang="en-US" sz="1800" err="1">
                <a:solidFill>
                  <a:prstClr val="black"/>
                </a:solidFill>
                <a:latin typeface="Lucida Console" panose="020B0609040504020204" pitchFamily="49" charset="0"/>
              </a:rPr>
              <a:t>SvcArray</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srgbClr val="006400"/>
                </a:solidFill>
                <a:latin typeface="Lucida Console" panose="020B0609040504020204" pitchFamily="49" charset="0"/>
              </a:rPr>
              <a:t># terminating error</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a:t>
            </a:r>
            <a:r>
              <a:rPr lang="en-US" sz="1800" err="1">
                <a:solidFill>
                  <a:srgbClr val="A82D00"/>
                </a:solidFill>
                <a:latin typeface="Lucida Console" panose="020B0609040504020204" pitchFamily="49" charset="0"/>
              </a:rPr>
              <a:t>IntArray</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00080"/>
                </a:solidFill>
                <a:latin typeface="Lucida Console" panose="020B0609040504020204" pitchFamily="49" charset="0"/>
              </a:rPr>
              <a:t>3</a:t>
            </a:r>
            <a:r>
              <a:rPr lang="en-US" sz="1800">
                <a:solidFill>
                  <a:srgbClr val="696969"/>
                </a:solidFill>
                <a:latin typeface="Lucida Console" panose="020B0609040504020204" pitchFamily="49" charset="0"/>
              </a:rPr>
              <a:t>,(</a:t>
            </a:r>
            <a:r>
              <a:rPr lang="en-US" sz="1800">
                <a:solidFill>
                  <a:srgbClr val="800080"/>
                </a:solidFill>
                <a:latin typeface="Lucida Console" panose="020B0609040504020204" pitchFamily="49" charset="0"/>
              </a:rPr>
              <a:t>1</a:t>
            </a:r>
            <a:r>
              <a:rPr lang="en-US" sz="1800">
                <a:solidFill>
                  <a:srgbClr val="696969"/>
                </a:solidFill>
                <a:latin typeface="Lucida Console" panose="020B0609040504020204" pitchFamily="49" charset="0"/>
              </a:rPr>
              <a:t>/</a:t>
            </a:r>
            <a:r>
              <a:rPr lang="en-US" sz="1800">
                <a:solidFill>
                  <a:srgbClr val="800080"/>
                </a:solidFill>
                <a:latin typeface="Lucida Console" panose="020B0609040504020204" pitchFamily="49" charset="0"/>
              </a:rPr>
              <a:t>0)</a:t>
            </a:r>
            <a:r>
              <a:rPr lang="en-US" sz="1800">
                <a:solidFill>
                  <a:srgbClr val="696969"/>
                </a:solidFill>
                <a:latin typeface="Lucida Console" panose="020B0609040504020204" pitchFamily="49" charset="0"/>
              </a:rPr>
              <a:t>,</a:t>
            </a:r>
            <a:r>
              <a:rPr lang="en-US" sz="1800">
                <a:solidFill>
                  <a:srgbClr val="800080"/>
                </a:solidFill>
                <a:latin typeface="Lucida Console" panose="020B0609040504020204" pitchFamily="49" charset="0"/>
              </a:rPr>
              <a:t>4</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srgbClr val="006400"/>
                </a:solidFill>
                <a:latin typeface="Lucida Console" panose="020B0609040504020204" pitchFamily="49" charset="0"/>
              </a:rPr>
              <a:t># validate that $</a:t>
            </a:r>
            <a:r>
              <a:rPr lang="en-US" sz="1800" err="1">
                <a:solidFill>
                  <a:srgbClr val="006400"/>
                </a:solidFill>
                <a:latin typeface="Lucida Console" panose="020B0609040504020204" pitchFamily="49" charset="0"/>
              </a:rPr>
              <a:t>IntArray</a:t>
            </a:r>
            <a:r>
              <a:rPr lang="en-US" sz="1800">
                <a:solidFill>
                  <a:srgbClr val="006400"/>
                </a:solidFill>
                <a:latin typeface="Lucida Console" panose="020B0609040504020204" pitchFamily="49" charset="0"/>
              </a:rPr>
              <a:t> has nothing in it</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a:t>
            </a:r>
            <a:r>
              <a:rPr lang="en-US" sz="1800" err="1">
                <a:solidFill>
                  <a:srgbClr val="A82D00"/>
                </a:solidFill>
                <a:latin typeface="Lucida Console" panose="020B0609040504020204" pitchFamily="49" charset="0"/>
              </a:rPr>
              <a:t>IntArray</a:t>
            </a:r>
            <a:r>
              <a:rPr lang="en-US" sz="1800">
                <a:solidFill>
                  <a:srgbClr val="A82D00"/>
                </a:solidFill>
                <a:latin typeface="Lucida Console" panose="020B0609040504020204" pitchFamily="49" charset="0"/>
              </a:rPr>
              <a:t> </a:t>
            </a:r>
          </a:p>
          <a:p>
            <a:pPr lvl="0" defTabSz="914460">
              <a:lnSpc>
                <a:spcPct val="90000"/>
              </a:lnSpc>
              <a:spcAft>
                <a:spcPts val="333"/>
              </a:spcAft>
            </a:pPr>
            <a:endParaRPr lang="en-US" sz="882">
              <a:solidFill>
                <a:prstClr val="black"/>
              </a:solidFill>
              <a:latin typeface="Segoe UI Light" pitchFamily="34" charset="0"/>
            </a:endParaRPr>
          </a:p>
          <a:p>
            <a:r>
              <a:rPr lang="en-US" sz="900">
                <a:solidFill>
                  <a:srgbClr val="006400"/>
                </a:solidFill>
                <a:latin typeface="Lucida Console" panose="020B0609040504020204" pitchFamily="49" charset="0"/>
              </a:rPr>
              <a:t># debug to avoid error</a:t>
            </a:r>
          </a:p>
          <a:p>
            <a:r>
              <a:rPr lang="en-US" sz="900">
                <a:solidFill>
                  <a:srgbClr val="A82D00"/>
                </a:solidFill>
                <a:latin typeface="Lucida Console" panose="020B0609040504020204" pitchFamily="49" charset="0"/>
              </a:rPr>
              <a:t>$</a:t>
            </a:r>
            <a:r>
              <a:rPr lang="en-US" sz="900" err="1">
                <a:solidFill>
                  <a:srgbClr val="A82D00"/>
                </a:solidFill>
                <a:latin typeface="Lucida Console" panose="020B0609040504020204" pitchFamily="49" charset="0"/>
              </a:rPr>
              <a:t>IntArray</a:t>
            </a:r>
            <a:r>
              <a:rPr lang="en-US" sz="900">
                <a:solidFill>
                  <a:prstClr val="black"/>
                </a:solidFill>
                <a:latin typeface="Lucida Console" panose="020B0609040504020204" pitchFamily="49" charset="0"/>
              </a:rPr>
              <a:t> </a:t>
            </a:r>
            <a:r>
              <a:rPr lang="en-US" sz="900">
                <a:solidFill>
                  <a:srgbClr val="696969"/>
                </a:solidFill>
                <a:latin typeface="Lucida Console" panose="020B0609040504020204" pitchFamily="49" charset="0"/>
              </a:rPr>
              <a:t>=</a:t>
            </a:r>
            <a:r>
              <a:rPr lang="en-US" sz="900">
                <a:solidFill>
                  <a:prstClr val="black"/>
                </a:solidFill>
                <a:latin typeface="Lucida Console" panose="020B0609040504020204" pitchFamily="49" charset="0"/>
              </a:rPr>
              <a:t> </a:t>
            </a:r>
            <a:r>
              <a:rPr lang="en-US" sz="900">
                <a:solidFill>
                  <a:srgbClr val="800080"/>
                </a:solidFill>
                <a:latin typeface="Lucida Console" panose="020B0609040504020204" pitchFamily="49" charset="0"/>
              </a:rPr>
              <a:t>3</a:t>
            </a:r>
            <a:r>
              <a:rPr lang="en-US" sz="900">
                <a:solidFill>
                  <a:srgbClr val="696969"/>
                </a:solidFill>
                <a:latin typeface="Lucida Console" panose="020B0609040504020204" pitchFamily="49" charset="0"/>
              </a:rPr>
              <a:t>,</a:t>
            </a:r>
            <a:r>
              <a:rPr lang="en-US" sz="900">
                <a:solidFill>
                  <a:srgbClr val="800080"/>
                </a:solidFill>
                <a:latin typeface="Lucida Console" panose="020B0609040504020204" pitchFamily="49" charset="0"/>
              </a:rPr>
              <a:t>1</a:t>
            </a:r>
            <a:r>
              <a:rPr lang="en-US" sz="900">
                <a:solidFill>
                  <a:srgbClr val="696969"/>
                </a:solidFill>
                <a:latin typeface="Lucida Console" panose="020B0609040504020204" pitchFamily="49" charset="0"/>
              </a:rPr>
              <a:t>,</a:t>
            </a:r>
            <a:r>
              <a:rPr lang="en-US" sz="900">
                <a:solidFill>
                  <a:srgbClr val="800080"/>
                </a:solidFill>
                <a:latin typeface="Lucida Console" panose="020B0609040504020204" pitchFamily="49" charset="0"/>
              </a:rPr>
              <a:t>4</a:t>
            </a:r>
            <a:endParaRPr lang="en-US" sz="900">
              <a:solidFill>
                <a:prstClr val="black"/>
              </a:solidFill>
              <a:latin typeface="Lucida Console" panose="020B0609040504020204" pitchFamily="49" charset="0"/>
            </a:endParaRPr>
          </a:p>
          <a:p>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 look at array</a:t>
            </a:r>
          </a:p>
          <a:p>
            <a:r>
              <a:rPr lang="en-US" sz="900">
                <a:solidFill>
                  <a:prstClr val="black"/>
                </a:solidFill>
                <a:latin typeface="Lucida Console" panose="020B0609040504020204" pitchFamily="49" charset="0"/>
              </a:rPr>
              <a:t>$</a:t>
            </a:r>
            <a:r>
              <a:rPr lang="en-US" sz="900" err="1">
                <a:solidFill>
                  <a:srgbClr val="A82D00"/>
                </a:solidFill>
                <a:latin typeface="Lucida Console" panose="020B0609040504020204" pitchFamily="49" charset="0"/>
              </a:rPr>
              <a:t>IntArray</a:t>
            </a:r>
            <a:endParaRPr lang="en-US" sz="900">
              <a:solidFill>
                <a:prstClr val="black"/>
              </a:solidFill>
              <a:latin typeface="Lucida Console" panose="020B0609040504020204" pitchFamily="49" charset="0"/>
            </a:endParaRPr>
          </a:p>
          <a:p>
            <a:endParaRPr lang="en-US" sz="900">
              <a:solidFill>
                <a:prstClr val="black"/>
              </a:solidFill>
              <a:latin typeface="Lucida Console" panose="020B0609040504020204" pitchFamily="49" charset="0"/>
            </a:endParaRPr>
          </a:p>
          <a:p>
            <a:pPr lvl="0" defTabSz="914460">
              <a:lnSpc>
                <a:spcPct val="90000"/>
              </a:lnSpc>
              <a:spcAft>
                <a:spcPts val="333"/>
              </a:spcAft>
            </a:pPr>
            <a:r>
              <a:rPr lang="en-US" sz="882">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261513438"/>
      </p:ext>
    </p:extLst>
  </p:cSld>
  <p:clrMapOvr>
    <a:masterClrMapping/>
  </p:clrMapOvr>
</p:notes>
</file>

<file path=ppt/notesSlides/notesSlide1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8</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29206502"/>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t>$</a:t>
            </a:r>
            <a:r>
              <a:rPr lang="en-US" sz="1200" dirty="0" err="1"/>
              <a:t>ErrorActionPreference</a:t>
            </a:r>
            <a:endParaRPr lang="en-US" sz="1200" dirty="0"/>
          </a:p>
          <a:p>
            <a:r>
              <a:rPr lang="en-US" sz="1200" dirty="0"/>
              <a:t>- Automatic variable for remaining script/function/session</a:t>
            </a:r>
          </a:p>
          <a:p>
            <a:r>
              <a:rPr lang="en-US" sz="1200" dirty="0"/>
              <a:t>- Affects all the Cmdlets and Advanced Functions in Current scope</a:t>
            </a:r>
          </a:p>
          <a:p>
            <a:endParaRPr lang="en-US" sz="1200" dirty="0"/>
          </a:p>
          <a:p>
            <a:pPr marL="0" indent="0">
              <a:buNone/>
            </a:pPr>
            <a:r>
              <a:rPr lang="en-US" sz="1200" dirty="0"/>
              <a:t>-</a:t>
            </a:r>
            <a:r>
              <a:rPr lang="en-US" sz="1200" dirty="0" err="1"/>
              <a:t>ErrorAction</a:t>
            </a:r>
            <a:r>
              <a:rPr lang="en-US" sz="1200" dirty="0"/>
              <a:t> common parameter</a:t>
            </a:r>
          </a:p>
          <a:p>
            <a:r>
              <a:rPr lang="en-US" sz="1200" dirty="0"/>
              <a:t> - Available on all cmdlets and advanced functions/scripts</a:t>
            </a:r>
          </a:p>
          <a:p>
            <a:r>
              <a:rPr lang="en-US" sz="1200" dirty="0"/>
              <a:t>- Only affects command where used</a:t>
            </a:r>
          </a:p>
          <a:p>
            <a:pPr marL="171450" indent="-171450">
              <a:buFontTx/>
              <a:buChar char="-"/>
            </a:pPr>
            <a:r>
              <a:rPr lang="en-US" sz="1200" dirty="0"/>
              <a:t>Use ‘</a:t>
            </a:r>
            <a:r>
              <a:rPr lang="en-US" sz="1200" dirty="0" err="1"/>
              <a:t>SilentlyContinue</a:t>
            </a:r>
            <a:r>
              <a:rPr lang="en-US" sz="1200" dirty="0"/>
              <a:t>’ value to suppress Error Messages</a:t>
            </a:r>
          </a:p>
          <a:p>
            <a:pPr marL="171450" indent="-171450">
              <a:buFontTx/>
              <a:buChar char="-"/>
            </a:pPr>
            <a:r>
              <a:rPr lang="en-US" sz="1200" dirty="0"/>
              <a:t>Values can be:</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200" dirty="0"/>
              <a:t>Continue (Default): </a:t>
            </a:r>
            <a:r>
              <a:rPr lang="en-AU" sz="1200" dirty="0">
                <a:latin typeface="Segoe UI Light" panose="020B0502040204020203" pitchFamily="34" charset="0"/>
                <a:cs typeface="Segoe UI Light" panose="020B0502040204020203" pitchFamily="34" charset="0"/>
              </a:rPr>
              <a:t>Displays error message and continues executing; numerical value = 0</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dirty="0" err="1">
                <a:latin typeface="Segoe UI Light" panose="020B0502040204020203" pitchFamily="34" charset="0"/>
                <a:cs typeface="Segoe UI Light" panose="020B0502040204020203" pitchFamily="34" charset="0"/>
              </a:rPr>
              <a:t>SilentlyContinue</a:t>
            </a:r>
            <a:r>
              <a:rPr lang="en-AU" sz="1200" dirty="0">
                <a:latin typeface="Segoe UI Light" panose="020B0502040204020203" pitchFamily="34" charset="0"/>
                <a:cs typeface="Segoe UI Light" panose="020B0502040204020203" pitchFamily="34" charset="0"/>
              </a:rPr>
              <a:t>: Error message is not displayed and execution continues w/o interruption; numerical value = 1</a:t>
            </a:r>
            <a:endParaRPr lang="en-AU" sz="1200"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dirty="0">
                <a:latin typeface="Segoe UI Light" panose="020B0502040204020203" pitchFamily="34" charset="0"/>
                <a:cs typeface="Segoe UI Light" panose="020B0502040204020203" pitchFamily="34" charset="0"/>
              </a:rPr>
              <a:t>Stop: Raises terminating error and displays an error message and stops command execution; numerical value = 2</a:t>
            </a:r>
            <a:endParaRPr lang="en-AU" sz="1200"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dirty="0">
                <a:latin typeface="Segoe UI Light" panose="020B0502040204020203" pitchFamily="34" charset="0"/>
                <a:cs typeface="Segoe UI Light" panose="020B0502040204020203" pitchFamily="34" charset="0"/>
              </a:rPr>
              <a:t>Suspend (Workflow only): </a:t>
            </a:r>
            <a:r>
              <a:rPr lang="en-US" sz="1200" dirty="0">
                <a:latin typeface="Segoe UI Light" panose="020B0502040204020203" pitchFamily="34" charset="0"/>
                <a:cs typeface="Segoe UI Light" panose="020B0502040204020203" pitchFamily="34" charset="0"/>
              </a:rPr>
              <a:t>Automatically suspends a workflow job. Allows for investigation. Workflow can be resumed; </a:t>
            </a:r>
            <a:r>
              <a:rPr lang="en-AU" sz="1200" dirty="0">
                <a:latin typeface="Segoe UI Light" panose="020B0502040204020203" pitchFamily="34" charset="0"/>
                <a:cs typeface="Segoe UI Light" panose="020B0502040204020203" pitchFamily="34" charset="0"/>
              </a:rPr>
              <a:t>numerical value = 3</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dirty="0">
                <a:latin typeface="Segoe UI Light" panose="020B0502040204020203" pitchFamily="34" charset="0"/>
                <a:cs typeface="Segoe UI Light" panose="020B0502040204020203" pitchFamily="34" charset="0"/>
              </a:rPr>
              <a:t>Inquire: Displays error message and prompts user to continue; numerical value = 4</a:t>
            </a:r>
            <a:endParaRPr lang="en-AU" sz="1200"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dirty="0">
                <a:latin typeface="Segoe UI Light" panose="020B0502040204020203" pitchFamily="34" charset="0"/>
                <a:cs typeface="Segoe UI Light" panose="020B0502040204020203" pitchFamily="34" charset="0"/>
              </a:rPr>
              <a:t>Ignore: Can only be used with -</a:t>
            </a:r>
            <a:r>
              <a:rPr lang="en-AU" sz="1200" dirty="0" err="1">
                <a:latin typeface="Segoe UI Light" panose="020B0502040204020203" pitchFamily="34" charset="0"/>
                <a:cs typeface="Segoe UI Light" panose="020B0502040204020203" pitchFamily="34" charset="0"/>
              </a:rPr>
              <a:t>ErrorAction</a:t>
            </a:r>
            <a:r>
              <a:rPr lang="en-AU" sz="1200" dirty="0">
                <a:latin typeface="Segoe UI Light" panose="020B0502040204020203" pitchFamily="34" charset="0"/>
                <a:cs typeface="Segoe UI Light" panose="020B0502040204020203" pitchFamily="34" charset="0"/>
              </a:rPr>
              <a:t> common parameter (not with $</a:t>
            </a:r>
            <a:r>
              <a:rPr lang="en-AU" sz="1200" dirty="0" err="1">
                <a:latin typeface="Segoe UI Light" panose="020B0502040204020203" pitchFamily="34" charset="0"/>
                <a:cs typeface="Segoe UI Light" panose="020B0502040204020203" pitchFamily="34" charset="0"/>
              </a:rPr>
              <a:t>ErrorActionPreference</a:t>
            </a:r>
            <a:r>
              <a:rPr lang="en-AU" sz="1200" dirty="0">
                <a:latin typeface="Segoe UI Light" panose="020B0502040204020203" pitchFamily="34" charset="0"/>
                <a:cs typeface="Segoe UI Light" panose="020B0502040204020203" pitchFamily="34" charset="0"/>
              </a:rPr>
              <a:t>).  Error won’t be caught in $Error variable; numerical value = 5</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dirty="0"/>
          </a:p>
          <a:p>
            <a:endParaRPr lang="en-US" dirty="0"/>
          </a:p>
          <a:p>
            <a:r>
              <a:rPr lang="en-US" dirty="0"/>
              <a:t>######</a:t>
            </a:r>
          </a:p>
        </p:txBody>
      </p:sp>
    </p:spTree>
    <p:extLst>
      <p:ext uri="{BB962C8B-B14F-4D97-AF65-F5344CB8AC3E}">
        <p14:creationId xmlns:p14="http://schemas.microsoft.com/office/powerpoint/2010/main" val="791669640"/>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6/28/2022</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58784601"/>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0" i="0">
                <a:solidFill>
                  <a:srgbClr val="E6E6E6"/>
                </a:solidFill>
                <a:effectLst/>
                <a:latin typeface="Segoe UI" panose="020B0502040204020203" pitchFamily="34" charset="0"/>
              </a:rPr>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1">
                <a:latin typeface="Segoe UI" panose="020B0502040204020203" pitchFamily="34" charset="0"/>
                <a:cs typeface="Segoe UI Light"/>
              </a:rPr>
              <a:t>$? </a:t>
            </a:r>
            <a:r>
              <a:rPr lang="en-US" b="0">
                <a:latin typeface="Segoe UI" panose="020B0502040204020203" pitchFamily="34" charset="0"/>
                <a:cs typeface="Segoe UI Light"/>
              </a:rPr>
              <a:t>a</a:t>
            </a:r>
            <a:r>
              <a:rPr lang="en-US">
                <a:latin typeface="Segoe UI" panose="020B0502040204020203" pitchFamily="34" charset="0"/>
                <a:cs typeface="Segoe UI Light"/>
              </a:rPr>
              <a:t>pplies to both Terminating and Non-terminating error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Note that if $? is called twice in a row the second will always return “True” due to the first $? completing successfu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i="0">
                <a:solidFill>
                  <a:srgbClr val="E6E6E6"/>
                </a:solidFill>
                <a:effectLst/>
                <a:latin typeface="Segoe UI" panose="020B0502040204020203" pitchFamily="34" charset="0"/>
              </a:rPr>
              <a:t>For native commands (executables), </a:t>
            </a:r>
            <a:r>
              <a:rPr lang="en-US"/>
              <a:t>$?</a:t>
            </a:r>
            <a:r>
              <a:rPr lang="en-US" b="0" i="0">
                <a:solidFill>
                  <a:srgbClr val="E6E6E6"/>
                </a:solidFill>
                <a:effectLst/>
                <a:latin typeface="Segoe UI" panose="020B0502040204020203" pitchFamily="34" charset="0"/>
              </a:rPr>
              <a:t> is set to </a:t>
            </a:r>
            <a:r>
              <a:rPr lang="en-US" b="1" i="0">
                <a:solidFill>
                  <a:srgbClr val="E6E6E6"/>
                </a:solidFill>
                <a:effectLst/>
                <a:latin typeface="Segoe UI" panose="020B0502040204020203" pitchFamily="34" charset="0"/>
              </a:rPr>
              <a:t>True</a:t>
            </a:r>
            <a:r>
              <a:rPr lang="en-US" b="0" i="0">
                <a:solidFill>
                  <a:srgbClr val="E6E6E6"/>
                </a:solidFill>
                <a:effectLst/>
                <a:latin typeface="Segoe UI" panose="020B0502040204020203" pitchFamily="34" charset="0"/>
              </a:rPr>
              <a:t> when </a:t>
            </a:r>
            <a:r>
              <a:rPr lang="en-US"/>
              <a:t>$LASTEXITCODE</a:t>
            </a:r>
            <a:r>
              <a:rPr lang="en-US" b="0" i="0">
                <a:solidFill>
                  <a:srgbClr val="E6E6E6"/>
                </a:solidFill>
                <a:effectLst/>
                <a:latin typeface="Segoe UI" panose="020B0502040204020203" pitchFamily="34" charset="0"/>
              </a:rPr>
              <a:t> is 0, and set to </a:t>
            </a:r>
            <a:r>
              <a:rPr lang="en-US" b="1" i="0">
                <a:solidFill>
                  <a:srgbClr val="E6E6E6"/>
                </a:solidFill>
                <a:effectLst/>
                <a:latin typeface="Segoe UI" panose="020B0502040204020203" pitchFamily="34" charset="0"/>
              </a:rPr>
              <a:t>False</a:t>
            </a:r>
            <a:r>
              <a:rPr lang="en-US" b="0" i="0">
                <a:solidFill>
                  <a:srgbClr val="E6E6E6"/>
                </a:solidFill>
                <a:effectLst/>
                <a:latin typeface="Segoe UI" panose="020B0502040204020203" pitchFamily="34" charset="0"/>
              </a:rPr>
              <a:t> when </a:t>
            </a:r>
            <a:r>
              <a:rPr lang="en-US"/>
              <a:t>$LASTEXITCODE</a:t>
            </a:r>
            <a:r>
              <a:rPr lang="en-US" b="0" i="0">
                <a:solidFill>
                  <a:srgbClr val="E6E6E6"/>
                </a:solidFill>
                <a:effectLst/>
                <a:latin typeface="Segoe UI" panose="020B0502040204020203" pitchFamily="34" charset="0"/>
              </a:rPr>
              <a:t> is any other value.</a:t>
            </a:r>
          </a:p>
          <a:p>
            <a:pPr marL="0" indent="0">
              <a:buFontTx/>
              <a:buNone/>
            </a:pPr>
            <a:endParaRPr lang="en-US" b="0" i="0">
              <a:solidFill>
                <a:srgbClr val="E6E6E6"/>
              </a:solidFill>
              <a:effectLst/>
              <a:latin typeface="Segoe UI" panose="020B0502040204020203" pitchFamily="34" charset="0"/>
            </a:endParaRPr>
          </a:p>
          <a:p>
            <a:pPr marL="0" indent="0">
              <a:buFontTx/>
              <a:buNone/>
            </a:pPr>
            <a:r>
              <a:rPr lang="en-US" b="0" i="0">
                <a:solidFill>
                  <a:srgbClr val="E6E6E6"/>
                </a:solidFill>
                <a:effectLst/>
                <a:latin typeface="Segoe UI" panose="020B0502040204020203" pitchFamily="34" charset="0"/>
              </a:rPr>
              <a:t>$Error</a:t>
            </a:r>
          </a:p>
          <a:p>
            <a:pPr marL="0" indent="0">
              <a:buFontTx/>
              <a:buNone/>
            </a:pPr>
            <a:r>
              <a:rPr lang="en-US" b="0" i="0">
                <a:solidFill>
                  <a:srgbClr val="E6E6E6"/>
                </a:solidFill>
                <a:effectLst/>
                <a:latin typeface="Segoe UI" panose="020B0502040204020203" pitchFamily="34" charset="0"/>
              </a:rPr>
              <a:t>- More detail on next slide</a:t>
            </a:r>
          </a:p>
          <a:p>
            <a:endParaRPr lang="en-US" b="0" i="0">
              <a:solidFill>
                <a:srgbClr val="E6E6E6"/>
              </a:solidFill>
              <a:effectLst/>
              <a:latin typeface="Segoe UI" panose="020B0502040204020203" pitchFamily="34" charset="0"/>
            </a:endParaRPr>
          </a:p>
          <a:p>
            <a:r>
              <a:rPr lang="en-US" b="0" i="0">
                <a:solidFill>
                  <a:srgbClr val="E6E6E6"/>
                </a:solidFill>
                <a:effectLst/>
                <a:latin typeface="Segoe UI" panose="020B0502040204020203" pitchFamily="34" charset="0"/>
              </a:rPr>
              <a:t>######</a:t>
            </a:r>
            <a:endParaRPr lang="en-US"/>
          </a:p>
          <a:p>
            <a:endParaRPr lang="en-US"/>
          </a:p>
        </p:txBody>
      </p:sp>
      <p:sp>
        <p:nvSpPr>
          <p:cNvPr id="4" name="Slide Number Placeholder 3"/>
          <p:cNvSpPr>
            <a:spLocks noGrp="1"/>
          </p:cNvSpPr>
          <p:nvPr>
            <p:ph type="sldNum" sz="quarter" idx="5"/>
          </p:nvPr>
        </p:nvSpPr>
        <p:spPr/>
        <p:txBody>
          <a:bodyPr/>
          <a:lstStyle/>
          <a:p>
            <a:fld id="{3AB96CE7-3200-4986-8BE6-1DDA53D4554B}" type="slidenum">
              <a:rPr lang="en-US" smtClean="0"/>
              <a:t>20</a:t>
            </a:fld>
            <a:endParaRPr lang="en-US"/>
          </a:p>
        </p:txBody>
      </p:sp>
    </p:spTree>
    <p:extLst>
      <p:ext uri="{BB962C8B-B14F-4D97-AF65-F5344CB8AC3E}">
        <p14:creationId xmlns:p14="http://schemas.microsoft.com/office/powerpoint/2010/main" val="687700844"/>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dirty="0"/>
              <a:t>Automatic variable $Error is an </a:t>
            </a:r>
            <a:r>
              <a:rPr lang="en-AU" sz="1200" dirty="0" err="1"/>
              <a:t>Arraylist</a:t>
            </a:r>
            <a:r>
              <a:rPr lang="en-AU" sz="1200" dirty="0"/>
              <a:t> hold errors that have occurred in the current sess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dirty="0"/>
              <a:t>Can control size of array with </a:t>
            </a:r>
            <a:r>
              <a:rPr lang="en-AU" sz="1200" b="1" dirty="0"/>
              <a:t>$</a:t>
            </a:r>
            <a:r>
              <a:rPr lang="en-AU" sz="1200" b="1" dirty="0" err="1"/>
              <a:t>MaximumErrorCount</a:t>
            </a:r>
            <a:r>
              <a:rPr lang="en-AU" sz="1200" b="1" dirty="0"/>
              <a:t> </a:t>
            </a:r>
            <a:r>
              <a:rPr lang="en-AU" sz="1200" b="0" dirty="0"/>
              <a:t>automatic variable (default is 256)</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dirty="0"/>
              <a:t>The most recent error is the first object in the array: </a:t>
            </a:r>
            <a:r>
              <a:rPr lang="en-AU" sz="1200" b="1" dirty="0"/>
              <a:t>$Error[0]</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dirty="0"/>
              <a:t>Prevent an error from being added to the $Error array, by using “-</a:t>
            </a:r>
            <a:r>
              <a:rPr lang="en-AU" sz="1200" dirty="0" err="1"/>
              <a:t>ErrorAction</a:t>
            </a:r>
            <a:r>
              <a:rPr lang="en-AU" sz="1200" dirty="0"/>
              <a:t> Igno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Is an instance of </a:t>
            </a:r>
            <a:r>
              <a:rPr lang="en-US" dirty="0" err="1"/>
              <a:t>ErrorRecord</a:t>
            </a:r>
            <a:r>
              <a:rPr lang="en-US" dirty="0"/>
              <a:t> Class in </a:t>
            </a:r>
            <a:r>
              <a:rPr lang="en-US" b="1" dirty="0" err="1"/>
              <a:t>System.Management.Automation</a:t>
            </a:r>
            <a:r>
              <a:rPr lang="en-US" b="1" dirty="0"/>
              <a:t> </a:t>
            </a:r>
            <a:r>
              <a:rPr lang="en-US" dirty="0"/>
              <a:t>Namespa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Is an </a:t>
            </a:r>
            <a:r>
              <a:rPr lang="en-US" b="1" dirty="0"/>
              <a:t>extension</a:t>
            </a:r>
            <a:r>
              <a:rPr lang="en-US" dirty="0"/>
              <a:t> to </a:t>
            </a:r>
            <a:r>
              <a:rPr lang="en-US" b="1" dirty="0" err="1"/>
              <a:t>System.Exception</a:t>
            </a:r>
            <a:r>
              <a:rPr lang="en-US" b="1" dirty="0"/>
              <a:t> </a:t>
            </a:r>
            <a:r>
              <a:rPr lang="en-US" dirty="0" err="1"/>
              <a:t>.Net</a:t>
            </a:r>
            <a:r>
              <a:rPr lang="en-US" dirty="0"/>
              <a:t> class with PowerShell with additional PowerShell related proper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e PowerShell host investigates </a:t>
            </a:r>
            <a:r>
              <a:rPr lang="en-US" dirty="0" err="1"/>
              <a:t>ErrorRecord</a:t>
            </a:r>
            <a:r>
              <a:rPr lang="en-US" dirty="0"/>
              <a:t> Objects and determines to stop or not the pipelin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dirty="0"/>
          </a:p>
          <a:p>
            <a:endParaRPr lang="en-US" dirty="0"/>
          </a:p>
        </p:txBody>
      </p:sp>
    </p:spTree>
    <p:extLst>
      <p:ext uri="{BB962C8B-B14F-4D97-AF65-F5344CB8AC3E}">
        <p14:creationId xmlns:p14="http://schemas.microsoft.com/office/powerpoint/2010/main" val="554195067"/>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a:t>Automatic variable $Error is an </a:t>
            </a:r>
            <a:r>
              <a:rPr lang="en-AU" sz="1200" err="1"/>
              <a:t>Arraylist</a:t>
            </a:r>
            <a:r>
              <a:rPr lang="en-AU" sz="1200"/>
              <a:t> hold errors that have occurred in the current sess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a:t>Can control size of array with </a:t>
            </a:r>
            <a:r>
              <a:rPr lang="en-AU" sz="1200" b="1"/>
              <a:t>$</a:t>
            </a:r>
            <a:r>
              <a:rPr lang="en-AU" sz="1200" b="1" err="1"/>
              <a:t>MaximumErrorCount</a:t>
            </a:r>
            <a:r>
              <a:rPr lang="en-AU" sz="1200" b="1"/>
              <a:t> </a:t>
            </a:r>
            <a:r>
              <a:rPr lang="en-AU" sz="1200" b="0"/>
              <a:t>automatic variable (default is 256)</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a:t>The most recent error is the first object in the array: </a:t>
            </a:r>
            <a:r>
              <a:rPr lang="en-AU" sz="1200" b="1"/>
              <a:t>$Error[0]</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a:t>Prevent an error from being added to the $Error array, by using “-</a:t>
            </a:r>
            <a:r>
              <a:rPr lang="en-AU" sz="1200" err="1"/>
              <a:t>ErrorAction</a:t>
            </a:r>
            <a:r>
              <a:rPr lang="en-AU" sz="1200"/>
              <a:t> Igno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Is an instance of </a:t>
            </a:r>
            <a:r>
              <a:rPr lang="en-US" err="1"/>
              <a:t>ErrorRecord</a:t>
            </a:r>
            <a:r>
              <a:rPr lang="en-US"/>
              <a:t> Class in </a:t>
            </a:r>
            <a:r>
              <a:rPr lang="en-US" b="1" err="1"/>
              <a:t>System.Management.Automation</a:t>
            </a:r>
            <a:r>
              <a:rPr lang="en-US" b="1"/>
              <a:t> </a:t>
            </a:r>
            <a:r>
              <a:rPr lang="en-US"/>
              <a:t>Namespa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Is an </a:t>
            </a:r>
            <a:r>
              <a:rPr lang="en-US" b="1"/>
              <a:t>extension</a:t>
            </a:r>
            <a:r>
              <a:rPr lang="en-US"/>
              <a:t> to </a:t>
            </a:r>
            <a:r>
              <a:rPr lang="en-US" b="1" err="1"/>
              <a:t>System.Exception</a:t>
            </a:r>
            <a:r>
              <a:rPr lang="en-US" b="1"/>
              <a:t> </a:t>
            </a:r>
            <a:r>
              <a:rPr lang="en-US" err="1"/>
              <a:t>.Net</a:t>
            </a:r>
            <a:r>
              <a:rPr lang="en-US"/>
              <a:t> class with PowerShell with additional PowerShell related proper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The PowerShell host investigates </a:t>
            </a:r>
            <a:r>
              <a:rPr lang="en-US" err="1"/>
              <a:t>ErrorRecord</a:t>
            </a:r>
            <a:r>
              <a:rPr lang="en-US"/>
              <a:t> Objects and determines to stop or not the pipelin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AU" sz="1200"/>
          </a:p>
          <a:p>
            <a:endParaRPr lang="en-US"/>
          </a:p>
        </p:txBody>
      </p:sp>
    </p:spTree>
    <p:extLst>
      <p:ext uri="{BB962C8B-B14F-4D97-AF65-F5344CB8AC3E}">
        <p14:creationId xmlns:p14="http://schemas.microsoft.com/office/powerpoint/2010/main" val="4080141841"/>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t>- </a:t>
            </a:r>
            <a:r>
              <a:rPr lang="en-US">
                <a:latin typeface="Segoe UI" panose="020B0502040204020203" pitchFamily="34" charset="0"/>
              </a:rPr>
              <a:t>Capture errors from a specific action into a dedicated variable</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sz="1200"/>
              <a:t>Note that $Error will not capture errors with $</a:t>
            </a:r>
            <a:r>
              <a:rPr lang="en-US" sz="1200" err="1"/>
              <a:t>ErrorAction</a:t>
            </a:r>
            <a:r>
              <a:rPr lang="en-US" sz="1200"/>
              <a:t> = ‘Ignore’</a:t>
            </a:r>
          </a:p>
          <a:p>
            <a:pPr marL="171450" marR="0" indent="-171450" algn="l" defTabSz="457200" rtl="0" eaLnBrk="1" fontAlgn="auto" latinLnBrk="0" hangingPunct="1">
              <a:lnSpc>
                <a:spcPct val="100000"/>
              </a:lnSpc>
              <a:spcBef>
                <a:spcPts val="0"/>
              </a:spcBef>
              <a:spcAft>
                <a:spcPts val="0"/>
              </a:spcAft>
              <a:buClrTx/>
              <a:buSzTx/>
              <a:buFontTx/>
              <a:buChar char="-"/>
              <a:tabLst/>
              <a:defRPr/>
            </a:pPr>
            <a:endParaRPr lang="en-US" sz="1200"/>
          </a:p>
          <a:p>
            <a:pPr marL="0" marR="0" indent="0" algn="l" defTabSz="457200" rtl="0" eaLnBrk="1" fontAlgn="auto" latinLnBrk="0" hangingPunct="1">
              <a:lnSpc>
                <a:spcPct val="100000"/>
              </a:lnSpc>
              <a:spcBef>
                <a:spcPts val="0"/>
              </a:spcBef>
              <a:spcAft>
                <a:spcPts val="0"/>
              </a:spcAft>
              <a:buClrTx/>
              <a:buSzTx/>
              <a:buFontTx/>
              <a:buNone/>
              <a:tabLst/>
              <a:defRPr/>
            </a:pPr>
            <a:r>
              <a:rPr lang="en-US" sz="1200"/>
              <a:t>For more information:  </a:t>
            </a:r>
            <a:r>
              <a:rPr lang="en-US" sz="1200" err="1"/>
              <a:t>about_CommonParameters</a:t>
            </a:r>
            <a:endParaRPr lang="en-US" sz="1200"/>
          </a:p>
          <a:p>
            <a:endParaRPr lang="en-US"/>
          </a:p>
          <a:p>
            <a:r>
              <a:rPr lang="en-US"/>
              <a:t>########</a:t>
            </a:r>
          </a:p>
        </p:txBody>
      </p:sp>
    </p:spTree>
    <p:extLst>
      <p:ext uri="{BB962C8B-B14F-4D97-AF65-F5344CB8AC3E}">
        <p14:creationId xmlns:p14="http://schemas.microsoft.com/office/powerpoint/2010/main" val="1107697555"/>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9439472"/>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9163464"/>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04577"/>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6/28/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324727935"/>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9163464"/>
      </p:ext>
    </p:extLst>
  </p:cSld>
  <p:clrMapOvr>
    <a:masterClrMapping/>
  </p:clrMapOvr>
</p:notes>
</file>

<file path=ppt/notesSlides/notesSlide3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025876890"/>
      </p:ext>
    </p:extLst>
  </p:cSld>
  <p:clrMapOvr>
    <a:masterClrMapping/>
  </p:clrMapOvr>
</p:notes>
</file>

<file path=ppt/notesSlides/notesSlide3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879262837"/>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589574616"/>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0000"/>
              </a:lnSpc>
              <a:buFontTx/>
              <a:buNone/>
            </a:pPr>
            <a:r>
              <a:rPr lang="en-US"/>
              <a:t>Some of this is review from non-terminating errors</a:t>
            </a:r>
          </a:p>
          <a:p>
            <a:pPr marL="171450" lvl="0" indent="-171450">
              <a:lnSpc>
                <a:spcPct val="100000"/>
              </a:lnSpc>
              <a:buFontTx/>
              <a:buChar char="-"/>
            </a:pPr>
            <a:endParaRPr lang="en-US"/>
          </a:p>
          <a:p>
            <a:pPr marL="171450" lvl="0" indent="-171450">
              <a:lnSpc>
                <a:spcPct val="100000"/>
              </a:lnSpc>
              <a:buFontTx/>
              <a:buChar char="-"/>
            </a:pPr>
            <a:r>
              <a:rPr lang="en-US"/>
              <a:t>Severe error, which will stop the running code, </a:t>
            </a:r>
            <a:r>
              <a:rPr lang="en-US" b="1"/>
              <a:t>unless</a:t>
            </a:r>
            <a:r>
              <a:rPr lang="en-US"/>
              <a:t> handled</a:t>
            </a:r>
          </a:p>
          <a:p>
            <a:pPr marL="171450" lvl="0" indent="-171450">
              <a:lnSpc>
                <a:spcPct val="100000"/>
              </a:lnSpc>
              <a:buFontTx/>
              <a:buChar char="-"/>
            </a:pPr>
            <a:r>
              <a:rPr lang="en-US" b="0"/>
              <a:t>If handled, handler must be in a special code block</a:t>
            </a:r>
          </a:p>
          <a:p>
            <a:pPr marL="628650" lvl="1" indent="-171450">
              <a:lnSpc>
                <a:spcPct val="100000"/>
              </a:lnSpc>
              <a:buFontTx/>
              <a:buChar char="-"/>
            </a:pPr>
            <a:r>
              <a:rPr lang="en-US" b="1"/>
              <a:t>try/catch </a:t>
            </a:r>
          </a:p>
          <a:p>
            <a:pPr marL="457200" lvl="1" indent="0">
              <a:lnSpc>
                <a:spcPct val="100000"/>
              </a:lnSpc>
              <a:buFontTx/>
              <a:buNone/>
            </a:pPr>
            <a:r>
              <a:rPr lang="en-US" b="0"/>
              <a:t>OR</a:t>
            </a:r>
          </a:p>
          <a:p>
            <a:pPr marL="628650" lvl="1" indent="-171450">
              <a:lnSpc>
                <a:spcPct val="100000"/>
              </a:lnSpc>
              <a:buFontTx/>
              <a:buChar char="-"/>
            </a:pPr>
            <a:r>
              <a:rPr lang="en-US" b="1"/>
              <a:t>Trap</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a:t>Can be created with </a:t>
            </a:r>
            <a:r>
              <a:rPr lang="en-US" b="1"/>
              <a:t>Throw </a:t>
            </a:r>
            <a:r>
              <a:rPr lang="en-US" b="0"/>
              <a:t>keyword</a:t>
            </a:r>
            <a:endParaRPr lang="en-US" b="1"/>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1"/>
              <a:t>Non-Terminating</a:t>
            </a:r>
            <a:r>
              <a:rPr lang="en-US" b="0"/>
              <a:t> Errors can be made terminating with </a:t>
            </a:r>
            <a:r>
              <a:rPr lang="en-US" b="1"/>
              <a:t>-</a:t>
            </a:r>
            <a:r>
              <a:rPr lang="en-US" b="1" err="1"/>
              <a:t>ErrorAction</a:t>
            </a:r>
            <a:r>
              <a:rPr lang="en-US" b="1"/>
              <a:t> stop</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a:t>
            </a:r>
            <a:r>
              <a:rPr lang="en-US" err="1"/>
              <a:t>ErrorActionPreference</a:t>
            </a:r>
            <a:r>
              <a:rPr lang="en-US"/>
              <a:t> can also be set to stop instead of –EA Stop</a:t>
            </a:r>
          </a:p>
          <a:p>
            <a:pPr marL="171450" lvl="0" indent="-171450">
              <a:lnSpc>
                <a:spcPct val="100000"/>
              </a:lnSpc>
              <a:buFontTx/>
              <a:buChar char="-"/>
            </a:pPr>
            <a:endParaRPr lang="en-US" sz="1200"/>
          </a:p>
          <a:p>
            <a:endParaRPr lang="en-US"/>
          </a:p>
          <a:p>
            <a:r>
              <a:rPr lang="en-US"/>
              <a:t>######</a:t>
            </a:r>
          </a:p>
        </p:txBody>
      </p:sp>
    </p:spTree>
    <p:extLst>
      <p:ext uri="{BB962C8B-B14F-4D97-AF65-F5344CB8AC3E}">
        <p14:creationId xmlns:p14="http://schemas.microsoft.com/office/powerpoint/2010/main" val="2685361263"/>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00000"/>
              </a:lnSpc>
              <a:buFontTx/>
              <a:buChar char="-"/>
            </a:pPr>
            <a:r>
              <a:rPr lang="en-US" b="1" dirty="0"/>
              <a:t>Throw </a:t>
            </a:r>
            <a:r>
              <a:rPr lang="en-US" b="0" dirty="0"/>
              <a:t>generates a terminating error</a:t>
            </a:r>
            <a:endParaRPr lang="en-US" b="1"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Can be used to enforce mandatory parameter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Get-Help </a:t>
            </a:r>
            <a:r>
              <a:rPr lang="en-US" dirty="0" err="1"/>
              <a:t>About_Throw</a:t>
            </a:r>
            <a:endParaRPr lang="en-US" dirty="0"/>
          </a:p>
          <a:p>
            <a:pPr marL="171450" lvl="0" indent="-171450">
              <a:lnSpc>
                <a:spcPct val="100000"/>
              </a:lnSpc>
              <a:buFontTx/>
              <a:buChar char="-"/>
            </a:pPr>
            <a:endParaRPr lang="en-US" sz="1200" dirty="0"/>
          </a:p>
          <a:p>
            <a:endParaRPr lang="en-US" dirty="0"/>
          </a:p>
          <a:p>
            <a:r>
              <a:rPr lang="en-US" dirty="0"/>
              <a:t>######</a:t>
            </a:r>
          </a:p>
          <a:p>
            <a:endParaRPr lang="en-US" dirty="0"/>
          </a:p>
          <a:p>
            <a:endParaRPr lang="en-US" dirty="0"/>
          </a:p>
        </p:txBody>
      </p:sp>
    </p:spTree>
    <p:extLst>
      <p:ext uri="{BB962C8B-B14F-4D97-AF65-F5344CB8AC3E}">
        <p14:creationId xmlns:p14="http://schemas.microsoft.com/office/powerpoint/2010/main" val="3968750812"/>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err="1"/>
              <a:t>Basetype</a:t>
            </a:r>
            <a:r>
              <a:rPr lang="en-US" dirty="0"/>
              <a:t>” is common exception</a:t>
            </a:r>
          </a:p>
          <a:p>
            <a:r>
              <a:rPr lang="en-US" dirty="0"/>
              <a:t>“</a:t>
            </a:r>
            <a:r>
              <a:rPr lang="en-US" dirty="0" err="1"/>
              <a:t>Fullname</a:t>
            </a:r>
            <a:r>
              <a:rPr lang="en-US" dirty="0"/>
              <a:t>” is specific exception</a:t>
            </a:r>
          </a:p>
        </p:txBody>
      </p:sp>
    </p:spTree>
    <p:extLst>
      <p:ext uri="{BB962C8B-B14F-4D97-AF65-F5344CB8AC3E}">
        <p14:creationId xmlns:p14="http://schemas.microsoft.com/office/powerpoint/2010/main" val="3936184253"/>
      </p:ext>
    </p:extLst>
  </p:cSld>
  <p:clrMapOvr>
    <a:masterClrMapping/>
  </p:clrMapOvr>
</p:notes>
</file>

<file path=ppt/notesSlides/notesSlide3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9</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4831591"/>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34089622"/>
      </p:ext>
    </p:extLst>
  </p:cSld>
  <p:clrMapOvr>
    <a:masterClrMapping/>
  </p:clrMapOvr>
</p:notes>
</file>

<file path=ppt/notesSlides/notesSlide4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0</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39258852"/>
      </p:ext>
    </p:extLst>
  </p:cSld>
  <p:clrMapOvr>
    <a:masterClrMapping/>
  </p:clrMapOvr>
</p:notes>
</file>

<file path=ppt/notesSlides/notesSlide4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1</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00070871"/>
      </p:ext>
    </p:extLst>
  </p:cSld>
  <p:clrMapOvr>
    <a:masterClrMapping/>
  </p:clrMapOvr>
</p:notes>
</file>

<file path=ppt/notesSlides/notesSlide4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sz="1200" b="0" i="1">
                <a:latin typeface="Segoe UI" panose="020B0502040204020203" pitchFamily="34" charset="0"/>
                <a:cs typeface="Segoe UI Light"/>
              </a:rPr>
              <a:t>- (always runs code in defined block)</a:t>
            </a:r>
            <a:endParaRPr lang="en-US" sz="1200" i="1"/>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sz="1200">
                <a:solidFill>
                  <a:schemeClr val="bg1"/>
                </a:solidFill>
                <a:latin typeface="Segoe UI Light" panose="020B0502040204020203" pitchFamily="34" charset="0"/>
                <a:cs typeface="Segoe UI Light" panose="020B0502040204020203" pitchFamily="34" charset="0"/>
              </a:rPr>
              <a:t> Traps apply to scope defined in</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sz="1200">
                <a:solidFill>
                  <a:schemeClr val="bg1"/>
                </a:solidFill>
                <a:latin typeface="Segoe UI Light" panose="020B0502040204020203" pitchFamily="34" charset="0"/>
                <a:cs typeface="Segoe UI Light" panose="020B0502040204020203" pitchFamily="34" charset="0"/>
              </a:rPr>
              <a:t>Trap usually defined in scripts, so script scope would be defaul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Segoe UI Light" panose="020B0502040204020203" pitchFamily="34" charset="0"/>
                <a:cs typeface="Segoe UI Light" panose="020B0502040204020203" pitchFamily="34" charset="0"/>
              </a:rPr>
              <a:t>- </a:t>
            </a:r>
            <a:r>
              <a:rPr lang="en-US"/>
              <a:t>Handles terminating errors and </a:t>
            </a:r>
            <a:r>
              <a:rPr lang="en-US" b="1"/>
              <a:t>allow</a:t>
            </a:r>
            <a:r>
              <a:rPr lang="en-US"/>
              <a:t> execution to </a:t>
            </a:r>
            <a:r>
              <a:rPr lang="en-US" b="1"/>
              <a:t>continue</a:t>
            </a:r>
            <a:r>
              <a:rPr lang="en-US"/>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Segoe UI Light" panose="020B0502040204020203" pitchFamily="34" charset="0"/>
                <a:cs typeface="Segoe UI Light" panose="020B0502040204020203" pitchFamily="34" charset="0"/>
              </a:rPr>
              <a:t>-</a:t>
            </a:r>
            <a:r>
              <a:rPr lang="en-US"/>
              <a:t>Can catch </a:t>
            </a:r>
            <a:r>
              <a:rPr lang="en-US" b="1"/>
              <a:t>all</a:t>
            </a:r>
            <a:r>
              <a:rPr lang="en-US"/>
              <a:t> terminating errors or </a:t>
            </a:r>
            <a:r>
              <a:rPr lang="en-US" b="1"/>
              <a:t>specific</a:t>
            </a:r>
            <a:r>
              <a:rPr lang="en-US"/>
              <a:t> exception typ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Segoe UI Light" panose="020B0502040204020203" pitchFamily="34" charset="0"/>
              <a:cs typeface="Segoe UI Light" panose="020B0502040204020203"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Segoe UI Light" panose="020B0502040204020203" pitchFamily="34" charset="0"/>
                <a:cs typeface="Segoe UI Light" panose="020B0502040204020203" pitchFamily="34" charset="0"/>
              </a:rPr>
              <a:t>- Trap does not support re-throwing the trapped exception</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a:p>
          <a:p>
            <a:endParaRPr lang="en-US"/>
          </a:p>
          <a:p>
            <a:r>
              <a:rPr lang="en-US"/>
              <a:t>######</a:t>
            </a:r>
          </a:p>
        </p:txBody>
      </p:sp>
    </p:spTree>
    <p:extLst>
      <p:ext uri="{BB962C8B-B14F-4D97-AF65-F5344CB8AC3E}">
        <p14:creationId xmlns:p14="http://schemas.microsoft.com/office/powerpoint/2010/main" val="2325521472"/>
      </p:ext>
    </p:extLst>
  </p:cSld>
  <p:clrMapOvr>
    <a:masterClrMapping/>
  </p:clrMapOvr>
</p:notes>
</file>

<file path=ppt/notesSlides/notesSlide4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sz="1200" b="0" i="1" dirty="0">
                <a:latin typeface="Segoe UI" panose="020B0502040204020203" pitchFamily="34" charset="0"/>
                <a:cs typeface="Segoe UI Light"/>
              </a:rPr>
              <a:t>- (always runs code in defined block)</a:t>
            </a:r>
            <a:endParaRPr lang="en-US" sz="1200" i="1" dirty="0"/>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sz="1200" dirty="0">
                <a:solidFill>
                  <a:schemeClr val="bg1"/>
                </a:solidFill>
                <a:latin typeface="Segoe UI Light" panose="020B0502040204020203" pitchFamily="34" charset="0"/>
                <a:cs typeface="Segoe UI Light" panose="020B0502040204020203" pitchFamily="34" charset="0"/>
              </a:rPr>
              <a:t> Traps apply to scope defined in</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sz="1200" dirty="0">
                <a:solidFill>
                  <a:schemeClr val="bg1"/>
                </a:solidFill>
                <a:latin typeface="Segoe UI Light" panose="020B0502040204020203" pitchFamily="34" charset="0"/>
                <a:cs typeface="Segoe UI Light" panose="020B0502040204020203" pitchFamily="34" charset="0"/>
              </a:rPr>
              <a:t>Trap usually defined in scripts, so script scope would be defaul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Light" panose="020B0502040204020203" pitchFamily="34" charset="0"/>
                <a:cs typeface="Segoe UI Light" panose="020B0502040204020203" pitchFamily="34" charset="0"/>
              </a:rPr>
              <a:t>- </a:t>
            </a:r>
            <a:r>
              <a:rPr lang="en-US" dirty="0"/>
              <a:t>Handles terminating errors and </a:t>
            </a:r>
            <a:r>
              <a:rPr lang="en-US" b="1" dirty="0"/>
              <a:t>allow</a:t>
            </a:r>
            <a:r>
              <a:rPr lang="en-US" dirty="0"/>
              <a:t> execution to </a:t>
            </a:r>
            <a:r>
              <a:rPr lang="en-US" b="1" dirty="0"/>
              <a:t>continue</a:t>
            </a:r>
            <a:r>
              <a:rPr lang="en-US" dirty="0"/>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Light" panose="020B0502040204020203" pitchFamily="34" charset="0"/>
                <a:cs typeface="Segoe UI Light" panose="020B0502040204020203" pitchFamily="34" charset="0"/>
              </a:rPr>
              <a:t>-</a:t>
            </a:r>
            <a:r>
              <a:rPr lang="en-US" dirty="0"/>
              <a:t>Can catch </a:t>
            </a:r>
            <a:r>
              <a:rPr lang="en-US" b="1" dirty="0"/>
              <a:t>all</a:t>
            </a:r>
            <a:r>
              <a:rPr lang="en-US" dirty="0"/>
              <a:t> terminating errors or </a:t>
            </a:r>
            <a:r>
              <a:rPr lang="en-US" b="1" dirty="0"/>
              <a:t>specific</a:t>
            </a:r>
            <a:r>
              <a:rPr lang="en-US" dirty="0"/>
              <a:t> exception typ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Segoe UI Light" panose="020B0502040204020203" pitchFamily="34" charset="0"/>
              <a:cs typeface="Segoe UI Light" panose="020B0502040204020203"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Light" panose="020B0502040204020203" pitchFamily="34" charset="0"/>
                <a:cs typeface="Segoe UI Light" panose="020B0502040204020203" pitchFamily="34" charset="0"/>
              </a:rPr>
              <a:t>- Trap does not support re-throwing the trapped exception</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dirty="0"/>
          </a:p>
          <a:p>
            <a:endParaRPr lang="en-US" dirty="0"/>
          </a:p>
          <a:p>
            <a:r>
              <a:rPr lang="en-US" dirty="0"/>
              <a:t>######</a:t>
            </a:r>
          </a:p>
        </p:txBody>
      </p:sp>
    </p:spTree>
    <p:extLst>
      <p:ext uri="{BB962C8B-B14F-4D97-AF65-F5344CB8AC3E}">
        <p14:creationId xmlns:p14="http://schemas.microsoft.com/office/powerpoint/2010/main" val="4253649075"/>
      </p:ext>
    </p:extLst>
  </p:cSld>
  <p:clrMapOvr>
    <a:masterClrMapping/>
  </p:clrMapOvr>
</p:notes>
</file>

<file path=ppt/notesSlides/notesSlide4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7188415"/>
      </p:ext>
    </p:extLst>
  </p:cSld>
  <p:clrMapOvr>
    <a:masterClrMapping/>
  </p:clrMapOvr>
</p:notes>
</file>

<file path=ppt/notesSlides/notesSlide4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6</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683500955"/>
      </p:ext>
    </p:extLst>
  </p:cSld>
  <p:clrMapOvr>
    <a:masterClrMapping/>
  </p:clrMapOvr>
</p:notes>
</file>

<file path=ppt/notesSlides/notesSlide4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5036774"/>
      </p:ext>
    </p:extLst>
  </p:cSld>
  <p:clrMapOvr>
    <a:masterClrMapping/>
  </p:clrMapOvr>
</p:notes>
</file>

<file path=ppt/notesSlides/notesSlide4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Light"/>
                <a:cs typeface="Segoe UI Light"/>
              </a:rPr>
              <a:t>https://docs.microsoft.com/en-us/powershell/module/microsoft.powershell.core/about/about_try_catch_finally?view=powershell-5.1</a:t>
            </a:r>
          </a:p>
          <a:p>
            <a:r>
              <a:rPr lang="en-US"/>
              <a:t>Use Try, Catch, and Finally blocks to respond to or handle terminating errors in scripts. The Trap statement can also be used to handle terminating errors in scripts</a:t>
            </a:r>
          </a:p>
          <a:p>
            <a:endParaRPr lang="en-US"/>
          </a:p>
          <a:p>
            <a:pPr marL="171450" indent="-171450">
              <a:buFontTx/>
              <a:buChar char="-"/>
            </a:pPr>
            <a:r>
              <a:rPr lang="en-US"/>
              <a:t>‘Try{}’ creates a new scope</a:t>
            </a:r>
          </a:p>
          <a:p>
            <a:pPr marL="171450" indent="-171450">
              <a:buFontTx/>
              <a:buChar char="-"/>
            </a:pPr>
            <a:r>
              <a:rPr lang="en-US"/>
              <a:t>Catch{}, Finally{} only apply to errors within corresponding Try{} block</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solidFill>
                  <a:schemeClr val="dk1"/>
                </a:solidFill>
                <a:effectLst/>
                <a:uLnTx/>
                <a:uFillTx/>
                <a:latin typeface="Segoe UI"/>
                <a:ea typeface="+mn-ea"/>
                <a:cs typeface="+mn-cs"/>
              </a:rPr>
              <a:t>Must have at least one Catch or Finally block</a:t>
            </a:r>
          </a:p>
          <a:p>
            <a:pPr marL="171450" indent="-171450">
              <a:buFontTx/>
              <a:buChar char="-"/>
            </a:pPr>
            <a:endParaRPr lang="en-US"/>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chemeClr val="dk1"/>
              </a:solidFill>
              <a:effectLst/>
              <a:uLnTx/>
              <a:uFillTx/>
              <a:latin typeface="Segoe UI"/>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dk1"/>
                </a:solidFill>
                <a:effectLst/>
                <a:uLnTx/>
                <a:uFillTx/>
                <a:latin typeface="Segoe UI"/>
                <a:ea typeface="+mn-ea"/>
                <a:cs typeface="+mn-cs"/>
              </a:rPr>
              <a:t>Catch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dk1"/>
                </a:solidFill>
                <a:effectLst/>
                <a:uLnTx/>
                <a:uFillTx/>
                <a:latin typeface="Segoe UI"/>
                <a:ea typeface="+mn-ea"/>
                <a:cs typeface="+mn-cs"/>
              </a:rPr>
              <a:t>- One or more catch blocks</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dk1"/>
                </a:solidFill>
                <a:effectLst/>
                <a:uLnTx/>
                <a:uFillTx/>
                <a:latin typeface="Segoe UI"/>
                <a:ea typeface="+mn-ea"/>
                <a:cs typeface="+mn-cs"/>
              </a:rPr>
              <a:t>- Exception type optional</a:t>
            </a:r>
            <a:br>
              <a:rPr kumimoji="0" lang="en-US" sz="1200" b="0" i="0" u="none" strike="noStrike" kern="1200" cap="none" spc="0" normalizeH="0" baseline="0" noProof="0">
                <a:ln>
                  <a:noFill/>
                </a:ln>
                <a:solidFill>
                  <a:schemeClr val="dk1"/>
                </a:solidFill>
                <a:effectLst/>
                <a:uLnTx/>
                <a:uFillTx/>
                <a:latin typeface="Segoe UI"/>
                <a:ea typeface="+mn-ea"/>
                <a:cs typeface="+mn-cs"/>
              </a:rPr>
            </a:br>
            <a:r>
              <a:rPr kumimoji="0" lang="en-US" sz="1200" b="0" i="0" u="none" strike="noStrike" kern="1200" cap="none" spc="0" normalizeH="0" baseline="0" noProof="0">
                <a:ln>
                  <a:noFill/>
                </a:ln>
                <a:solidFill>
                  <a:schemeClr val="dk1"/>
                </a:solidFill>
                <a:effectLst/>
                <a:uLnTx/>
                <a:uFillTx/>
                <a:latin typeface="Segoe UI"/>
                <a:ea typeface="+mn-ea"/>
                <a:cs typeface="+mn-cs"/>
              </a:rPr>
              <a:t>	</a:t>
            </a:r>
            <a:r>
              <a:rPr kumimoji="0" lang="en-US" sz="1200" b="0" i="1" u="none" strike="noStrike" kern="1200" cap="none" spc="0" normalizeH="0" baseline="0" noProof="0">
                <a:ln>
                  <a:noFill/>
                </a:ln>
                <a:solidFill>
                  <a:schemeClr val="dk1"/>
                </a:solidFill>
                <a:effectLst/>
                <a:uLnTx/>
                <a:uFillTx/>
                <a:latin typeface="Segoe UI"/>
                <a:ea typeface="+mn-ea"/>
                <a:cs typeface="+mn-cs"/>
              </a:rPr>
              <a:t>Note: most specific to least specific</a:t>
            </a:r>
            <a:endParaRPr kumimoji="0" lang="en-US" sz="1200" b="0" i="0" u="none" strike="noStrike" kern="1200" cap="none" spc="0" normalizeH="0" baseline="0" noProof="0">
              <a:ln>
                <a:noFill/>
              </a:ln>
              <a:solidFill>
                <a:schemeClr val="dk1"/>
              </a:solidFill>
              <a:effectLst/>
              <a:uLnTx/>
              <a:uFillTx/>
              <a:latin typeface="Segoe U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dk1"/>
              </a:solidFill>
              <a:effectLst/>
              <a:uLnTx/>
              <a:uFillTx/>
              <a:latin typeface="Segoe UI"/>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solidFill>
                  <a:schemeClr val="dk1"/>
                </a:solidFill>
                <a:effectLst/>
                <a:uLnTx/>
                <a:uFillTx/>
                <a:latin typeface="Segoe UI"/>
                <a:ea typeface="+mn-ea"/>
                <a:cs typeface="+mn-cs"/>
              </a:rPr>
              <a:t>Finally {}</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a:ln>
                  <a:noFill/>
                </a:ln>
                <a:solidFill>
                  <a:schemeClr val="dk1"/>
                </a:solidFill>
                <a:effectLst/>
                <a:uLnTx/>
                <a:uFillTx/>
                <a:latin typeface="Segoe UI"/>
                <a:ea typeface="+mn-ea"/>
                <a:cs typeface="+mn-cs"/>
              </a:rPr>
              <a:t>Finally block optional</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a:t>Code block will run even if Ctrl-C is used during the Try block execution</a:t>
            </a:r>
          </a:p>
          <a:p>
            <a:pPr marL="0" indent="0">
              <a:buNone/>
            </a:pPr>
            <a:r>
              <a:rPr kumimoji="0" lang="en-US" sz="1200" b="0" i="0" u="none" strike="noStrike" kern="1200" cap="none" spc="0" normalizeH="0" baseline="0" noProof="0">
                <a:ln>
                  <a:noFill/>
                </a:ln>
                <a:solidFill>
                  <a:schemeClr val="dk1"/>
                </a:solidFill>
                <a:effectLst/>
                <a:uLnTx/>
                <a:uFillTx/>
                <a:latin typeface="Segoe UI"/>
                <a:ea typeface="+mn-ea"/>
                <a:cs typeface="+mn-cs"/>
              </a:rPr>
              <a:t>            - </a:t>
            </a:r>
            <a:r>
              <a:rPr lang="en-US"/>
              <a:t>Useful for:</a:t>
            </a:r>
          </a:p>
          <a:p>
            <a:r>
              <a:rPr lang="en-US"/>
              <a:t>	Releasing resources</a:t>
            </a:r>
          </a:p>
          <a:p>
            <a:r>
              <a:rPr lang="en-US"/>
              <a:t>	Closing network connections</a:t>
            </a:r>
          </a:p>
          <a:p>
            <a:r>
              <a:rPr lang="en-US"/>
              <a:t>	Closing database connections</a:t>
            </a:r>
          </a:p>
          <a:p>
            <a:r>
              <a:rPr lang="en-US"/>
              <a:t>	Logging</a:t>
            </a:r>
          </a:p>
          <a:p>
            <a:r>
              <a:rPr lang="en-US"/>
              <a:t>	Etc.</a:t>
            </a:r>
            <a:endParaRPr kumimoji="0" lang="en-US" sz="1200" b="0" i="0" u="none" strike="noStrike" kern="1200" cap="none" spc="0" normalizeH="0" baseline="0" noProof="0">
              <a:ln>
                <a:noFill/>
              </a:ln>
              <a:solidFill>
                <a:schemeClr val="dk1"/>
              </a:solidFill>
              <a:effectLst/>
              <a:uLnTx/>
              <a:uFillTx/>
              <a:latin typeface="Segoe U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a:p>
          <a:p>
            <a:endParaRPr lang="en-US"/>
          </a:p>
          <a:p>
            <a:r>
              <a:rPr lang="en-US"/>
              <a:t>######</a:t>
            </a:r>
          </a:p>
        </p:txBody>
      </p:sp>
    </p:spTree>
    <p:extLst>
      <p:ext uri="{BB962C8B-B14F-4D97-AF65-F5344CB8AC3E}">
        <p14:creationId xmlns:p14="http://schemas.microsoft.com/office/powerpoint/2010/main" val="368895780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Without streams, errors, output, information, other objects would be mixed, requiring later filtering</a:t>
            </a:r>
          </a:p>
          <a:p>
            <a:endParaRPr lang="en-US"/>
          </a:p>
          <a:p>
            <a:r>
              <a:rPr lang="en-US"/>
              <a:t>Full stream list on the next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B96CE7-3200-4986-8BE6-1DDA53D45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4381971"/>
      </p:ext>
    </p:extLst>
  </p:cSld>
  <p:clrMapOvr>
    <a:masterClrMapping/>
  </p:clrMapOvr>
</p:notes>
</file>

<file path=ppt/notesSlides/notesSlide5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dirty="0">
                <a:latin typeface="Segoe UI Light"/>
                <a:cs typeface="Segoe UI Light"/>
              </a:rPr>
              <a:t>https://docs.microsoft.com/en-us/powershell/module/microsoft.powershell.core/about/about_try_catch_finally?view=powershell-5.1</a:t>
            </a:r>
          </a:p>
          <a:p>
            <a:r>
              <a:rPr lang="en-US" dirty="0"/>
              <a:t>Use Try, Catch, and Finally blocks to respond to or handle terminating errors in scripts. The Trap statement can also be used to handle terminating errors in scripts</a:t>
            </a:r>
          </a:p>
          <a:p>
            <a:endParaRPr lang="en-US" dirty="0"/>
          </a:p>
          <a:p>
            <a:pPr marL="171450" indent="-171450">
              <a:buFontTx/>
              <a:buChar char="-"/>
            </a:pPr>
            <a:r>
              <a:rPr lang="en-US" dirty="0"/>
              <a:t>‘Try{}’ creates a new scope</a:t>
            </a:r>
          </a:p>
          <a:p>
            <a:pPr marL="171450" indent="-171450">
              <a:buFontTx/>
              <a:buChar char="-"/>
            </a:pPr>
            <a:r>
              <a:rPr lang="en-US" dirty="0"/>
              <a:t>Catch{}, Finally{} only apply to errors within corresponding Try{} block</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Must have at least one Catch or Finally block</a:t>
            </a:r>
          </a:p>
          <a:p>
            <a:pPr marL="171450" indent="-171450">
              <a:buFontTx/>
              <a:buChar char="-"/>
            </a:pPr>
            <a:endParaRPr lang="en-US" dirty="0"/>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Catch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 One or more catch blocks</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 Exception type optional</a:t>
            </a:r>
            <a:br>
              <a:rPr kumimoji="0" lang="en-US" sz="1200" b="0" i="0" u="none" strike="noStrike" kern="1200" cap="none" spc="0" normalizeH="0" baseline="0" noProof="0" dirty="0">
                <a:ln>
                  <a:noFill/>
                </a:ln>
                <a:solidFill>
                  <a:schemeClr val="dk1"/>
                </a:solidFill>
                <a:effectLst/>
                <a:uLnTx/>
                <a:uFillTx/>
                <a:latin typeface="Segoe UI"/>
                <a:ea typeface="+mn-ea"/>
                <a:cs typeface="+mn-cs"/>
              </a:rPr>
            </a:br>
            <a:r>
              <a:rPr kumimoji="0" lang="en-US" sz="1200" b="0" i="0" u="none" strike="noStrike" kern="1200" cap="none" spc="0" normalizeH="0" baseline="0" noProof="0" dirty="0">
                <a:ln>
                  <a:noFill/>
                </a:ln>
                <a:solidFill>
                  <a:schemeClr val="dk1"/>
                </a:solidFill>
                <a:effectLst/>
                <a:uLnTx/>
                <a:uFillTx/>
                <a:latin typeface="Segoe UI"/>
                <a:ea typeface="+mn-ea"/>
                <a:cs typeface="+mn-cs"/>
              </a:rPr>
              <a:t>	</a:t>
            </a:r>
            <a:r>
              <a:rPr kumimoji="0" lang="en-US" sz="1200" b="0" i="1" u="none" strike="noStrike" kern="1200" cap="none" spc="0" normalizeH="0" baseline="0" noProof="0" dirty="0">
                <a:ln>
                  <a:noFill/>
                </a:ln>
                <a:solidFill>
                  <a:schemeClr val="dk1"/>
                </a:solidFill>
                <a:effectLst/>
                <a:uLnTx/>
                <a:uFillTx/>
                <a:latin typeface="Segoe UI"/>
                <a:ea typeface="+mn-ea"/>
                <a:cs typeface="+mn-cs"/>
              </a:rPr>
              <a:t>Note: most specific to least specific</a:t>
            </a: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Finally {}</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Finally block optional</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dirty="0"/>
              <a:t>Code block will run even if Ctrl-C is used during the Try block execution</a:t>
            </a:r>
          </a:p>
          <a:p>
            <a:pPr marL="0" indent="0">
              <a:buNone/>
            </a:pPr>
            <a:r>
              <a:rPr kumimoji="0" lang="en-US" sz="1200" b="0" i="0" u="none" strike="noStrike" kern="1200" cap="none" spc="0" normalizeH="0" baseline="0" noProof="0" dirty="0">
                <a:ln>
                  <a:noFill/>
                </a:ln>
                <a:solidFill>
                  <a:schemeClr val="dk1"/>
                </a:solidFill>
                <a:effectLst/>
                <a:uLnTx/>
                <a:uFillTx/>
                <a:latin typeface="Segoe UI"/>
                <a:ea typeface="+mn-ea"/>
                <a:cs typeface="+mn-cs"/>
              </a:rPr>
              <a:t>            - </a:t>
            </a:r>
            <a:r>
              <a:rPr lang="en-US" dirty="0"/>
              <a:t>Useful for:</a:t>
            </a:r>
          </a:p>
          <a:p>
            <a:r>
              <a:rPr lang="en-US" dirty="0"/>
              <a:t>	Releasing resources</a:t>
            </a:r>
          </a:p>
          <a:p>
            <a:r>
              <a:rPr lang="en-US" dirty="0"/>
              <a:t>	Closing network connections</a:t>
            </a:r>
          </a:p>
          <a:p>
            <a:r>
              <a:rPr lang="en-US" dirty="0"/>
              <a:t>	Closing database connections</a:t>
            </a:r>
          </a:p>
          <a:p>
            <a:r>
              <a:rPr lang="en-US" dirty="0"/>
              <a:t>	Logging</a:t>
            </a:r>
          </a:p>
          <a:p>
            <a:r>
              <a:rPr lang="en-US" dirty="0"/>
              <a:t>	Etc.</a:t>
            </a: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dirty="0"/>
          </a:p>
          <a:p>
            <a:endParaRPr lang="en-US" dirty="0"/>
          </a:p>
          <a:p>
            <a:r>
              <a:rPr lang="en-US" dirty="0"/>
              <a:t>######</a:t>
            </a:r>
          </a:p>
        </p:txBody>
      </p:sp>
    </p:spTree>
    <p:extLst>
      <p:ext uri="{BB962C8B-B14F-4D97-AF65-F5344CB8AC3E}">
        <p14:creationId xmlns:p14="http://schemas.microsoft.com/office/powerpoint/2010/main" val="1796515017"/>
      </p:ext>
    </p:extLst>
  </p:cSld>
  <p:clrMapOvr>
    <a:masterClrMapping/>
  </p:clrMapOvr>
</p:notes>
</file>

<file path=ppt/notesSlides/notesSlide5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dirty="0">
                <a:latin typeface="Segoe UI Light"/>
                <a:cs typeface="Segoe UI Light"/>
              </a:rPr>
              <a:t>https://docs.microsoft.com/en-us/powershell/module/microsoft.powershell.core/about/about_try_catch_finally?view=powershell-5.1</a:t>
            </a:r>
          </a:p>
          <a:p>
            <a:r>
              <a:rPr lang="en-US" dirty="0"/>
              <a:t>Use Try, Catch, and Finally blocks to respond to or handle terminating errors in scripts. The Trap statement can also be used to handle terminating errors in scripts</a:t>
            </a:r>
          </a:p>
          <a:p>
            <a:endParaRPr lang="en-US" dirty="0"/>
          </a:p>
          <a:p>
            <a:pPr marL="171450" indent="-171450">
              <a:buFontTx/>
              <a:buChar char="-"/>
            </a:pPr>
            <a:r>
              <a:rPr lang="en-US" dirty="0"/>
              <a:t>‘Try{}’ creates a new scope</a:t>
            </a:r>
          </a:p>
          <a:p>
            <a:pPr marL="171450" indent="-171450">
              <a:buFontTx/>
              <a:buChar char="-"/>
            </a:pPr>
            <a:r>
              <a:rPr lang="en-US" dirty="0"/>
              <a:t>Catch{}, Finally{} only apply to errors within corresponding Try{} block</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Must have at least one Catch or Finally block</a:t>
            </a:r>
          </a:p>
          <a:p>
            <a:pPr marL="171450" indent="-171450">
              <a:buFontTx/>
              <a:buChar char="-"/>
            </a:pPr>
            <a:endParaRPr lang="en-US" dirty="0"/>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Catch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 One or more catch blocks</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 Exception type optional</a:t>
            </a:r>
            <a:br>
              <a:rPr kumimoji="0" lang="en-US" sz="1200" b="0" i="0" u="none" strike="noStrike" kern="1200" cap="none" spc="0" normalizeH="0" baseline="0" noProof="0" dirty="0">
                <a:ln>
                  <a:noFill/>
                </a:ln>
                <a:solidFill>
                  <a:schemeClr val="dk1"/>
                </a:solidFill>
                <a:effectLst/>
                <a:uLnTx/>
                <a:uFillTx/>
                <a:latin typeface="Segoe UI"/>
                <a:ea typeface="+mn-ea"/>
                <a:cs typeface="+mn-cs"/>
              </a:rPr>
            </a:br>
            <a:r>
              <a:rPr kumimoji="0" lang="en-US" sz="1200" b="0" i="0" u="none" strike="noStrike" kern="1200" cap="none" spc="0" normalizeH="0" baseline="0" noProof="0" dirty="0">
                <a:ln>
                  <a:noFill/>
                </a:ln>
                <a:solidFill>
                  <a:schemeClr val="dk1"/>
                </a:solidFill>
                <a:effectLst/>
                <a:uLnTx/>
                <a:uFillTx/>
                <a:latin typeface="Segoe UI"/>
                <a:ea typeface="+mn-ea"/>
                <a:cs typeface="+mn-cs"/>
              </a:rPr>
              <a:t>	</a:t>
            </a:r>
            <a:r>
              <a:rPr kumimoji="0" lang="en-US" sz="1200" b="0" i="1" u="none" strike="noStrike" kern="1200" cap="none" spc="0" normalizeH="0" baseline="0" noProof="0" dirty="0">
                <a:ln>
                  <a:noFill/>
                </a:ln>
                <a:solidFill>
                  <a:schemeClr val="dk1"/>
                </a:solidFill>
                <a:effectLst/>
                <a:uLnTx/>
                <a:uFillTx/>
                <a:latin typeface="Segoe UI"/>
                <a:ea typeface="+mn-ea"/>
                <a:cs typeface="+mn-cs"/>
              </a:rPr>
              <a:t>Note: most specific to least specific</a:t>
            </a: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Finally {}</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chemeClr val="dk1"/>
                </a:solidFill>
                <a:effectLst/>
                <a:uLnTx/>
                <a:uFillTx/>
                <a:latin typeface="Segoe UI"/>
                <a:ea typeface="+mn-ea"/>
                <a:cs typeface="+mn-cs"/>
              </a:rPr>
              <a:t>Finally block optional</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dirty="0"/>
              <a:t>Code block will run even if Ctrl-C is used during the Try block execution</a:t>
            </a:r>
          </a:p>
          <a:p>
            <a:pPr marL="0" indent="0">
              <a:buNone/>
            </a:pPr>
            <a:r>
              <a:rPr kumimoji="0" lang="en-US" sz="1200" b="0" i="0" u="none" strike="noStrike" kern="1200" cap="none" spc="0" normalizeH="0" baseline="0" noProof="0" dirty="0">
                <a:ln>
                  <a:noFill/>
                </a:ln>
                <a:solidFill>
                  <a:schemeClr val="dk1"/>
                </a:solidFill>
                <a:effectLst/>
                <a:uLnTx/>
                <a:uFillTx/>
                <a:latin typeface="Segoe UI"/>
                <a:ea typeface="+mn-ea"/>
                <a:cs typeface="+mn-cs"/>
              </a:rPr>
              <a:t>            - </a:t>
            </a:r>
            <a:r>
              <a:rPr lang="en-US" dirty="0"/>
              <a:t>Useful for:</a:t>
            </a:r>
          </a:p>
          <a:p>
            <a:r>
              <a:rPr lang="en-US" dirty="0"/>
              <a:t>	Releasing resources</a:t>
            </a:r>
          </a:p>
          <a:p>
            <a:r>
              <a:rPr lang="en-US" dirty="0"/>
              <a:t>	Closing network connections</a:t>
            </a:r>
          </a:p>
          <a:p>
            <a:r>
              <a:rPr lang="en-US" dirty="0"/>
              <a:t>	Closing database connections</a:t>
            </a:r>
          </a:p>
          <a:p>
            <a:r>
              <a:rPr lang="en-US" dirty="0"/>
              <a:t>	Logging</a:t>
            </a:r>
          </a:p>
          <a:p>
            <a:r>
              <a:rPr lang="en-US" dirty="0"/>
              <a:t>	Etc.</a:t>
            </a:r>
            <a:endParaRPr kumimoji="0" lang="en-US" sz="1200" b="0" i="0" u="none" strike="noStrike" kern="1200" cap="none" spc="0" normalizeH="0" baseline="0" noProof="0" dirty="0">
              <a:ln>
                <a:noFill/>
              </a:ln>
              <a:solidFill>
                <a:schemeClr val="dk1"/>
              </a:solidFill>
              <a:effectLst/>
              <a:uLnTx/>
              <a:uFillTx/>
              <a:latin typeface="Segoe U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dirty="0"/>
          </a:p>
          <a:p>
            <a:endParaRPr lang="en-US" dirty="0"/>
          </a:p>
          <a:p>
            <a:r>
              <a:rPr lang="en-US" dirty="0"/>
              <a:t>######</a:t>
            </a:r>
          </a:p>
        </p:txBody>
      </p:sp>
    </p:spTree>
    <p:extLst>
      <p:ext uri="{BB962C8B-B14F-4D97-AF65-F5344CB8AC3E}">
        <p14:creationId xmlns:p14="http://schemas.microsoft.com/office/powerpoint/2010/main" val="2631991537"/>
      </p:ext>
    </p:extLst>
  </p:cSld>
  <p:clrMapOvr>
    <a:masterClrMapping/>
  </p:clrMapOvr>
</p:notes>
</file>

<file path=ppt/notesSlides/notesSlide5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Segoe UI Light" panose="020B0502040204020203" pitchFamily="34" charset="0"/>
                <a:cs typeface="Segoe UI Light" panose="020B0502040204020203" pitchFamily="34" charset="0"/>
              </a:rPr>
              <a:t>## Note:  This code does NOT work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Segoe UI Light" panose="020B0502040204020203" pitchFamily="34" charset="0"/>
                <a:cs typeface="Segoe UI Light" panose="020B0502040204020203" pitchFamily="34" charset="0"/>
              </a:rPr>
              <a:t>## Working code in next dem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Segoe UI Light" panose="020B0502040204020203" pitchFamily="34" charset="0"/>
              <a:cs typeface="Segoe UI Light" panose="020B0502040204020203"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The Try block defines a section of a script to monitor for error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If an error occurs within the Try block, the error is first saved to $Erro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PowerShell then searches for a Catch block to handle the erro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If no matching Catch block is found or defined, then parent scopes are search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If the error cannot be handled, the error is written to the error stream</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If the Try block didn’t have an error, no catch {} block is ru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atin typeface="Segoe UI Light" panose="020B0502040204020203" pitchFamily="34" charset="0"/>
                <a:cs typeface="Segoe UI Light" panose="020B0502040204020203" pitchFamily="34" charset="0"/>
              </a:rPr>
              <a:t>The Finally block (</a:t>
            </a:r>
            <a:r>
              <a:rPr lang="en-US" b="1">
                <a:latin typeface="Segoe UI Light" panose="020B0502040204020203" pitchFamily="34" charset="0"/>
                <a:cs typeface="Segoe UI Light" panose="020B0502040204020203" pitchFamily="34" charset="0"/>
              </a:rPr>
              <a:t>if it exists) </a:t>
            </a:r>
            <a:r>
              <a:rPr lang="en-US" b="0">
                <a:latin typeface="Segoe UI Light" panose="020B0502040204020203" pitchFamily="34" charset="0"/>
                <a:cs typeface="Segoe UI Light" panose="020B0502040204020203" pitchFamily="34" charset="0"/>
              </a:rPr>
              <a:t>runs after the Try or any </a:t>
            </a:r>
            <a:r>
              <a:rPr lang="en-US" b="1">
                <a:latin typeface="Segoe UI Light" panose="020B0502040204020203" pitchFamily="34" charset="0"/>
                <a:cs typeface="Segoe UI Light" panose="020B0502040204020203" pitchFamily="34" charset="0"/>
              </a:rPr>
              <a:t>catch{} </a:t>
            </a:r>
            <a:r>
              <a:rPr lang="en-US" b="0">
                <a:latin typeface="Segoe UI Light" panose="020B0502040204020203" pitchFamily="34" charset="0"/>
                <a:cs typeface="Segoe UI Light" panose="020B0502040204020203" pitchFamily="34" charset="0"/>
              </a:rPr>
              <a:t>block is run.  It </a:t>
            </a:r>
            <a:r>
              <a:rPr lang="en-US">
                <a:latin typeface="Segoe UI Light" panose="020B0502040204020203" pitchFamily="34" charset="0"/>
                <a:cs typeface="Segoe UI Light" panose="020B0502040204020203" pitchFamily="34" charset="0"/>
              </a:rPr>
              <a:t>executes regardless if the Try{} block completes, is interrupted, or has a terminating err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Segoe UI Light" panose="020B0502040204020203" pitchFamily="34"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Segoe UI Light" panose="020B0502040204020203" pitchFamily="34" charset="0"/>
                <a:cs typeface="Segoe UI Light" panose="020B0502040204020203" pitchFamily="34" charset="0"/>
              </a:rPr>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a:p>
            <a:endParaRPr lang="en-US"/>
          </a:p>
        </p:txBody>
      </p:sp>
    </p:spTree>
    <p:extLst>
      <p:ext uri="{BB962C8B-B14F-4D97-AF65-F5344CB8AC3E}">
        <p14:creationId xmlns:p14="http://schemas.microsoft.com/office/powerpoint/2010/main" val="2860879631"/>
      </p:ext>
    </p:extLst>
  </p:cSld>
  <p:clrMapOvr>
    <a:masterClrMapping/>
  </p:clrMapOvr>
</p:notes>
</file>

<file path=ppt/notesSlides/notesSlide5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a:latin typeface="Segoe UI Light"/>
                <a:cs typeface="Segoe UI Light"/>
              </a:rPr>
              <a:t>https://docs.microsoft.com/en-us/powershell/module/microsoft.powershell.core/about/about_try_catch_finally?view=powershell-5.1</a:t>
            </a:r>
          </a:p>
          <a:p>
            <a:r>
              <a:rPr lang="en-US"/>
              <a:t>Use Try, Catch, and Finally blocks to respond to or handle terminating errors in scripts. The Trap statement can also be used to handle terminating errors in scripts</a:t>
            </a:r>
          </a:p>
        </p:txBody>
      </p:sp>
    </p:spTree>
    <p:extLst>
      <p:ext uri="{BB962C8B-B14F-4D97-AF65-F5344CB8AC3E}">
        <p14:creationId xmlns:p14="http://schemas.microsoft.com/office/powerpoint/2010/main" val="1299150384"/>
      </p:ext>
    </p:extLst>
  </p:cSld>
  <p:clrMapOvr>
    <a:masterClrMapping/>
  </p:clrMapOvr>
</p:notes>
</file>

<file path=ppt/notesSlides/notesSlide5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buNone/>
            </a:pPr>
            <a:r>
              <a:rPr lang="en-US" sz="1200"/>
              <a:t>In the code above:</a:t>
            </a:r>
          </a:p>
          <a:p>
            <a:pPr>
              <a:spcBef>
                <a:spcPts val="0"/>
              </a:spcBef>
            </a:pPr>
            <a:r>
              <a:rPr lang="en-US" sz="1200"/>
              <a:t>- The "function3" catch block is executed, which throws a new exception</a:t>
            </a:r>
          </a:p>
          <a:p>
            <a:pPr>
              <a:spcBef>
                <a:spcPts val="0"/>
              </a:spcBef>
            </a:pPr>
            <a:r>
              <a:rPr lang="en-US" sz="1200"/>
              <a:t>- The new exception is caught by the parent catch block</a:t>
            </a:r>
          </a:p>
          <a:p>
            <a:pPr>
              <a:spcBef>
                <a:spcPts val="0"/>
              </a:spcBef>
            </a:pPr>
            <a:r>
              <a:rPr lang="en-US" sz="1200"/>
              <a:t>- This affects flow control, as the "function3 was completed" text is NOT executed</a:t>
            </a:r>
          </a:p>
          <a:p>
            <a:endParaRPr lang="en-US"/>
          </a:p>
        </p:txBody>
      </p:sp>
    </p:spTree>
    <p:extLst>
      <p:ext uri="{BB962C8B-B14F-4D97-AF65-F5344CB8AC3E}">
        <p14:creationId xmlns:p14="http://schemas.microsoft.com/office/powerpoint/2010/main" val="2815621175"/>
      </p:ext>
    </p:extLst>
  </p:cSld>
  <p:clrMapOvr>
    <a:masterClrMapping/>
  </p:clrMapOvr>
</p:notes>
</file>

<file path=ppt/notesSlides/notesSlide5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Trap does NOT have finally block</a:t>
            </a:r>
          </a:p>
          <a:p>
            <a:pPr marL="171450" indent="-171450">
              <a:buFontTx/>
              <a:buChar char="-"/>
            </a:pPr>
            <a:r>
              <a:rPr lang="en-US"/>
              <a:t>Trap applies to entire scope (usually script)</a:t>
            </a:r>
          </a:p>
          <a:p>
            <a:pPr marL="171450" indent="-171450">
              <a:buFontTx/>
              <a:buChar char="-"/>
            </a:pPr>
            <a:r>
              <a:rPr lang="en-US"/>
              <a:t>Try “scopes” code to watch</a:t>
            </a:r>
          </a:p>
          <a:p>
            <a:pPr marL="171450" indent="-171450">
              <a:buFontTx/>
              <a:buChar char="-"/>
            </a:pPr>
            <a:endParaRPr lang="en-US"/>
          </a:p>
          <a:p>
            <a:endParaRPr lang="en-US"/>
          </a:p>
          <a:p>
            <a:endParaRPr lang="en-US"/>
          </a:p>
          <a:p>
            <a:r>
              <a:rPr lang="en-US"/>
              <a:t>######</a:t>
            </a:r>
          </a:p>
        </p:txBody>
      </p:sp>
    </p:spTree>
    <p:extLst>
      <p:ext uri="{BB962C8B-B14F-4D97-AF65-F5344CB8AC3E}">
        <p14:creationId xmlns:p14="http://schemas.microsoft.com/office/powerpoint/2010/main" val="2510194036"/>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output stream is the default and most common</a:t>
            </a:r>
          </a:p>
          <a:p>
            <a:pPr marL="171450" indent="-171450">
              <a:buFont typeface="Arial" panose="020B0604020202020204" pitchFamily="34" charset="0"/>
              <a:buChar char="•"/>
            </a:pPr>
            <a:r>
              <a:rPr lang="en-US"/>
              <a:t>The main assignment operator is just the equal sign (=)</a:t>
            </a:r>
          </a:p>
          <a:p>
            <a:pPr marL="171450" indent="-171450">
              <a:buFont typeface="Arial" panose="020B0604020202020204" pitchFamily="34" charset="0"/>
              <a:buChar char="•"/>
            </a:pPr>
            <a:r>
              <a:rPr lang="en-US"/>
              <a:t>Each stream has its own </a:t>
            </a:r>
            <a:r>
              <a:rPr lang="en-US" err="1"/>
              <a:t>enum</a:t>
            </a:r>
            <a:r>
              <a:rPr lang="en-US"/>
              <a:t> that can be sued for redirections</a:t>
            </a:r>
          </a:p>
          <a:p>
            <a:pPr marL="0" algn="l" rtl="0" eaLnBrk="1" fontAlgn="ctr" latinLnBrk="0" hangingPunct="1">
              <a:spcBef>
                <a:spcPts val="0"/>
              </a:spcBef>
              <a:spcAft>
                <a:spcPts val="0"/>
              </a:spcAft>
            </a:pPr>
            <a:r>
              <a:rPr lang="en-US" sz="1800" b="1" i="0" u="none" strike="noStrike" kern="1200">
                <a:solidFill>
                  <a:srgbClr val="FFFFFF"/>
                </a:solidFill>
                <a:effectLst/>
                <a:latin typeface="Segoe UI" panose="020B0502040204020203" pitchFamily="34" charset="0"/>
              </a:rPr>
              <a:t>1 - Output</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000000"/>
                </a:solidFill>
                <a:effectLst/>
                <a:latin typeface="Segoe UI" panose="020B0502040204020203" pitchFamily="34" charset="0"/>
              </a:rPr>
              <a:t>2 - Error</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000000"/>
                </a:solidFill>
                <a:effectLst/>
                <a:latin typeface="Segoe UI" panose="020B0502040204020203" pitchFamily="34" charset="0"/>
              </a:rPr>
              <a:t>3 - Warning</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000000"/>
                </a:solidFill>
                <a:effectLst/>
                <a:latin typeface="Segoe UI" panose="020B0502040204020203" pitchFamily="34" charset="0"/>
              </a:rPr>
              <a:t>4 - Verbose</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000000"/>
                </a:solidFill>
                <a:effectLst/>
                <a:latin typeface="Segoe UI" panose="020B0502040204020203" pitchFamily="34" charset="0"/>
              </a:rPr>
              <a:t>5 - Debug</a:t>
            </a:r>
            <a:endParaRPr lang="en-US"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US" sz="1800" b="1" i="0" u="none" strike="noStrike" kern="1200">
                <a:solidFill>
                  <a:srgbClr val="000000"/>
                </a:solidFill>
                <a:effectLst/>
                <a:latin typeface="Segoe UI" panose="020B0502040204020203" pitchFamily="34" charset="0"/>
              </a:rPr>
              <a:t>6 - Information</a:t>
            </a:r>
            <a:endParaRPr lang="en-US" sz="1800" b="0" i="0" u="none" strike="noStrike">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a:p>
        </p:txBody>
      </p:sp>
      <p:sp>
        <p:nvSpPr>
          <p:cNvPr id="5" name="Date Placeholder 4"/>
          <p:cNvSpPr>
            <a:spLocks noGrp="1"/>
          </p:cNvSpPr>
          <p:nvPr>
            <p:ph type="dt" idx="1"/>
          </p:nvPr>
        </p:nvSpPr>
        <p:spPr/>
        <p:txBody>
          <a:bodyPr/>
          <a:lstStyle/>
          <a:p>
            <a:fld id="{B63683C5-D28F-4EF7-868C-6B282EBD67F9}" type="datetime8">
              <a:rPr lang="en-US"/>
              <a:t>6/28/2022 9:15 AM</a:t>
            </a:fld>
            <a:endParaRPr lang="en-US"/>
          </a:p>
        </p:txBody>
      </p:sp>
    </p:spTree>
    <p:extLst>
      <p:ext uri="{BB962C8B-B14F-4D97-AF65-F5344CB8AC3E}">
        <p14:creationId xmlns:p14="http://schemas.microsoft.com/office/powerpoint/2010/main" val="3658583854"/>
      </p:ext>
    </p:extLst>
  </p:cSld>
  <p:clrMapOvr>
    <a:masterClrMapping/>
  </p:clrMapOvr>
</p:notes>
</file>

<file path=ppt/notesSlides/notesSlide6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6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19813351"/>
      </p:ext>
    </p:extLst>
  </p:cSld>
  <p:clrMapOvr>
    <a:masterClrMapping/>
  </p:clrMapOvr>
</p:notes>
</file>

<file path=ppt/notesSlides/notesSlide6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6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63599800"/>
      </p:ext>
    </p:extLst>
  </p:cSld>
  <p:clrMapOvr>
    <a:masterClrMapping/>
  </p:clrMapOvr>
</p:notes>
</file>

<file path=ppt/notesSlides/notesSlide6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smtClean="0"/>
              <a:pPr/>
              <a:t>63</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864306501"/>
      </p:ext>
    </p:extLst>
  </p:cSld>
  <p:clrMapOvr>
    <a:masterClrMapping/>
  </p:clrMapOvr>
</p:notes>
</file>

<file path=ppt/notesSlides/notesSlide6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64</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6/28/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3069614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Debug, Verbose, Information stream are “hidden” by default, so you must use the common parameter to make the stream visible</a:t>
            </a:r>
          </a:p>
          <a:p>
            <a:endParaRPr lang="en-US"/>
          </a:p>
          <a:p>
            <a:r>
              <a:rPr lang="en-US" sz="1400" b="1">
                <a:latin typeface="Segoe UI Light"/>
                <a:cs typeface="Segoe UI Light"/>
              </a:rPr>
              <a:t>Preference Variables</a:t>
            </a:r>
          </a:p>
          <a:p>
            <a:pPr marL="0" indent="0">
              <a:buFont typeface="Arial" panose="020B0604020202020204" pitchFamily="34" charset="0"/>
              <a:buNone/>
            </a:pPr>
            <a:r>
              <a:rPr lang="en-US" sz="1200"/>
              <a:t> - Variables that control how PowerShell reacts to stream messag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latin typeface="Segoe UI Light"/>
                <a:cs typeface="Segoe UI Light"/>
              </a:rPr>
              <a:t>- No preference variable for Output Strea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 </a:t>
            </a:r>
            <a:r>
              <a:rPr lang="en-US"/>
              <a:t>Mention the preference variables being shown their default values in each stream</a:t>
            </a:r>
          </a:p>
          <a:p>
            <a:pPr marL="0" indent="0">
              <a:buFont typeface="Arial" panose="020B0604020202020204" pitchFamily="34" charset="0"/>
              <a:buNone/>
            </a:pPr>
            <a:endParaRPr lang="en-US" sz="1200"/>
          </a:p>
          <a:p>
            <a:endParaRPr lang="en-US"/>
          </a:p>
          <a:p>
            <a:endParaRPr lang="en-US"/>
          </a:p>
          <a:p>
            <a:r>
              <a:rPr lang="en-US"/>
              <a:t>######</a:t>
            </a:r>
          </a:p>
        </p:txBody>
      </p:sp>
      <p:sp>
        <p:nvSpPr>
          <p:cNvPr id="4" name="Slide Number Placeholder 3"/>
          <p:cNvSpPr>
            <a:spLocks noGrp="1"/>
          </p:cNvSpPr>
          <p:nvPr>
            <p:ph type="sldNum" sz="quarter" idx="5"/>
          </p:nvPr>
        </p:nvSpPr>
        <p:spPr/>
        <p:txBody>
          <a:bodyPr/>
          <a:lstStyle/>
          <a:p>
            <a:fld id="{3AB96CE7-3200-4986-8BE6-1DDA53D4554B}" type="slidenum">
              <a:rPr lang="en-US" smtClean="0"/>
              <a:t>7</a:t>
            </a:fld>
            <a:endParaRPr lang="en-US"/>
          </a:p>
        </p:txBody>
      </p:sp>
    </p:spTree>
    <p:extLst>
      <p:ext uri="{BB962C8B-B14F-4D97-AF65-F5344CB8AC3E}">
        <p14:creationId xmlns:p14="http://schemas.microsoft.com/office/powerpoint/2010/main" val="159584939"/>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8</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Streams Demo</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Output is default</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Hello Ther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Explicitly tell to write output</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Output 'Hello Ther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Write-Output passes objects along the output stream</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Output '</a:t>
            </a:r>
            <a:r>
              <a:rPr lang="en-US" sz="882" err="1">
                <a:solidFill>
                  <a:prstClr val="black"/>
                </a:solidFill>
                <a:latin typeface="Segoe UI Light" pitchFamily="34" charset="0"/>
              </a:rPr>
              <a:t>dnscache</a:t>
            </a:r>
            <a:r>
              <a:rPr lang="en-US" sz="882">
                <a:solidFill>
                  <a:prstClr val="black"/>
                </a:solidFill>
                <a:latin typeface="Segoe UI Light" pitchFamily="34" charset="0"/>
              </a:rPr>
              <a:t>' | Get-Servic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Write-Host does not pass through the 'output' stream </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or any other stream</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Host "</a:t>
            </a:r>
            <a:r>
              <a:rPr lang="en-US" sz="882" err="1">
                <a:solidFill>
                  <a:prstClr val="black"/>
                </a:solidFill>
                <a:latin typeface="Segoe UI Light" pitchFamily="34" charset="0"/>
              </a:rPr>
              <a:t>dnscache</a:t>
            </a:r>
            <a:r>
              <a:rPr lang="en-US" sz="882">
                <a:solidFill>
                  <a:prstClr val="black"/>
                </a:solidFill>
                <a:latin typeface="Segoe UI Light" pitchFamily="34" charset="0"/>
              </a:rPr>
              <a:t>" | Get-Servic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host understands colors</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Host ‘Cowboys' -</a:t>
            </a:r>
            <a:r>
              <a:rPr lang="en-US" sz="882" err="1">
                <a:solidFill>
                  <a:prstClr val="black"/>
                </a:solidFill>
                <a:latin typeface="Segoe UI Light" pitchFamily="34" charset="0"/>
              </a:rPr>
              <a:t>ForegroundColor</a:t>
            </a:r>
            <a:r>
              <a:rPr lang="en-US" sz="882">
                <a:solidFill>
                  <a:prstClr val="black"/>
                </a:solidFill>
                <a:latin typeface="Segoe UI Light" pitchFamily="34" charset="0"/>
              </a:rPr>
              <a:t> Blue -</a:t>
            </a:r>
            <a:r>
              <a:rPr lang="en-US" sz="882" err="1">
                <a:solidFill>
                  <a:prstClr val="black"/>
                </a:solidFill>
                <a:latin typeface="Segoe UI Light" pitchFamily="34" charset="0"/>
              </a:rPr>
              <a:t>BackgroundColor</a:t>
            </a:r>
            <a:r>
              <a:rPr lang="en-US" sz="882">
                <a:solidFill>
                  <a:prstClr val="black"/>
                </a:solidFill>
                <a:latin typeface="Segoe UI Light" pitchFamily="34" charset="0"/>
              </a:rPr>
              <a:t> Whit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output doesn't understand colors</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Output ‘Cowboys' -</a:t>
            </a:r>
            <a:r>
              <a:rPr lang="en-US" sz="882" err="1">
                <a:solidFill>
                  <a:prstClr val="black"/>
                </a:solidFill>
                <a:latin typeface="Segoe UI Light" pitchFamily="34" charset="0"/>
              </a:rPr>
              <a:t>ForegroundColor</a:t>
            </a:r>
            <a:r>
              <a:rPr lang="en-US" sz="882">
                <a:solidFill>
                  <a:prstClr val="black"/>
                </a:solidFill>
                <a:latin typeface="Segoe UI Light" pitchFamily="34" charset="0"/>
              </a:rPr>
              <a:t> Blue -</a:t>
            </a:r>
            <a:r>
              <a:rPr lang="en-US" sz="882" err="1">
                <a:solidFill>
                  <a:prstClr val="black"/>
                </a:solidFill>
                <a:latin typeface="Segoe UI Light" pitchFamily="34" charset="0"/>
              </a:rPr>
              <a:t>BackgroundColor</a:t>
            </a:r>
            <a:r>
              <a:rPr lang="en-US" sz="882">
                <a:solidFill>
                  <a:prstClr val="black"/>
                </a:solidFill>
                <a:latin typeface="Segoe UI Light" pitchFamily="34" charset="0"/>
              </a:rPr>
              <a:t> Whit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view all streams by seeing preferenc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Get-Variable *</a:t>
            </a:r>
            <a:r>
              <a:rPr lang="en-US" sz="882" err="1">
                <a:solidFill>
                  <a:prstClr val="black"/>
                </a:solidFill>
                <a:latin typeface="Segoe UI Light" pitchFamily="34" charset="0"/>
              </a:rPr>
              <a:t>pref</a:t>
            </a:r>
            <a:r>
              <a:rPr lang="en-US" sz="882">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use the stream</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Debug "Hello ther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doesn’t show, since “</a:t>
            </a:r>
            <a:r>
              <a:rPr lang="en-US" sz="882" err="1">
                <a:solidFill>
                  <a:prstClr val="black"/>
                </a:solidFill>
                <a:latin typeface="Segoe UI Light" pitchFamily="34" charset="0"/>
              </a:rPr>
              <a:t>silentlycontinue</a:t>
            </a:r>
            <a:r>
              <a:rPr lang="en-US" sz="882">
                <a:solidFill>
                  <a:prstClr val="black"/>
                </a:solidFill>
                <a:latin typeface="Segoe UI Light" pitchFamily="34" charset="0"/>
              </a:rPr>
              <a:t>” by defaul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use the stream with the common </a:t>
            </a:r>
            <a:r>
              <a:rPr lang="en-US" sz="882" err="1">
                <a:solidFill>
                  <a:prstClr val="black"/>
                </a:solidFill>
                <a:latin typeface="Segoe UI Light" pitchFamily="34" charset="0"/>
              </a:rPr>
              <a:t>paramter</a:t>
            </a:r>
            <a:endParaRPr lang="en-US" sz="882">
              <a:solidFill>
                <a:prstClr val="black"/>
              </a:solidFill>
              <a:latin typeface="Segoe UI Light" pitchFamily="34" charset="0"/>
            </a:endParaRPr>
          </a:p>
          <a:p>
            <a:pPr marL="0" marR="0" lvl="0" indent="0" algn="l" defTabSz="914460"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882">
                <a:solidFill>
                  <a:prstClr val="black"/>
                </a:solidFill>
                <a:latin typeface="Segoe UI Light" pitchFamily="34" charset="0"/>
              </a:rPr>
              <a:t>Write-Debug "Hello there“ -Debug</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Verbose "I'm her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Verbose “I’m here” -Verbos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Warning "This is serious or maybe no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error action preferenc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a:t>
            </a:r>
            <a:r>
              <a:rPr lang="en-US" sz="882" err="1">
                <a:solidFill>
                  <a:prstClr val="black"/>
                </a:solidFill>
                <a:latin typeface="Segoe UI Light" pitchFamily="34" charset="0"/>
              </a:rPr>
              <a:t>ErrorActionPreference</a:t>
            </a: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set silently </a:t>
            </a:r>
            <a:r>
              <a:rPr lang="en-US" sz="882" err="1">
                <a:solidFill>
                  <a:prstClr val="black"/>
                </a:solidFill>
                <a:latin typeface="Segoe UI Light" pitchFamily="34" charset="0"/>
              </a:rPr>
              <a:t>contine</a:t>
            </a: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a:t>
            </a:r>
            <a:r>
              <a:rPr lang="en-US" sz="882" err="1">
                <a:solidFill>
                  <a:prstClr val="black"/>
                </a:solidFill>
                <a:latin typeface="Segoe UI Light" pitchFamily="34" charset="0"/>
              </a:rPr>
              <a:t>ErrorActionPreference</a:t>
            </a:r>
            <a:r>
              <a:rPr lang="en-US" sz="882">
                <a:solidFill>
                  <a:prstClr val="black"/>
                </a:solidFill>
                <a:latin typeface="Segoe UI Light" pitchFamily="34" charset="0"/>
              </a:rPr>
              <a:t>="</a:t>
            </a:r>
            <a:r>
              <a:rPr lang="en-US" sz="882" err="1">
                <a:solidFill>
                  <a:prstClr val="black"/>
                </a:solidFill>
                <a:latin typeface="Segoe UI Light" pitchFamily="34" charset="0"/>
              </a:rPr>
              <a:t>silentlycontinue</a:t>
            </a:r>
            <a:r>
              <a:rPr lang="en-US" sz="882">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run bad command Note no error displayed</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get-item fakefile.tx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reset to continu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a:t>
            </a:r>
            <a:r>
              <a:rPr lang="en-US" sz="882" err="1">
                <a:solidFill>
                  <a:prstClr val="black"/>
                </a:solidFill>
                <a:latin typeface="Segoe UI Light" pitchFamily="34" charset="0"/>
              </a:rPr>
              <a:t>ErrorActionPreference</a:t>
            </a:r>
            <a:r>
              <a:rPr lang="en-US" sz="882">
                <a:solidFill>
                  <a:prstClr val="black"/>
                </a:solidFill>
                <a:latin typeface="Segoe UI Light" pitchFamily="34" charset="0"/>
              </a:rPr>
              <a:t> = "continue"</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populate variable from default output stream</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output = Get-process system</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view content of variabl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outpu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errors do not get sent to error stream, not output stream</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output = Get-process bogus</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nothing in output variabl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outpu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redirection</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output = Get-Process bogus 2&gt;&amp;1</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outpu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Send errors to specified fil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Get-Process none 2&gt; Errors.tx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Append errors to contents of specified fil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Get-Service </a:t>
            </a:r>
            <a:r>
              <a:rPr lang="en-US" sz="882" err="1">
                <a:solidFill>
                  <a:prstClr val="black"/>
                </a:solidFill>
                <a:latin typeface="Segoe UI Light" pitchFamily="34" charset="0"/>
              </a:rPr>
              <a:t>nunya</a:t>
            </a:r>
            <a:r>
              <a:rPr lang="en-US" sz="882">
                <a:solidFill>
                  <a:prstClr val="black"/>
                </a:solidFill>
                <a:latin typeface="Segoe UI Light" pitchFamily="34" charset="0"/>
              </a:rPr>
              <a:t> 2&gt;&gt; Errors.txt</a:t>
            </a:r>
          </a:p>
          <a:p>
            <a:pPr marL="0" lvl="0" indent="0" defTabSz="914460">
              <a:lnSpc>
                <a:spcPct val="90000"/>
              </a:lnSpc>
              <a:spcAft>
                <a:spcPts val="333"/>
              </a:spcAft>
              <a:buFont typeface="Arial" panose="020B0604020202020204" pitchFamily="34" charset="0"/>
              <a:buNone/>
            </a:pPr>
            <a:endParaRPr lang="en-US" sz="882">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 write warnings to a file</a:t>
            </a:r>
          </a:p>
          <a:p>
            <a:pPr marL="0" lvl="0" indent="0" defTabSz="914460">
              <a:lnSpc>
                <a:spcPct val="90000"/>
              </a:lnSpc>
              <a:spcAft>
                <a:spcPts val="333"/>
              </a:spcAft>
              <a:buFont typeface="Arial" panose="020B0604020202020204" pitchFamily="34" charset="0"/>
              <a:buNone/>
            </a:pPr>
            <a:r>
              <a:rPr lang="en-US" sz="882">
                <a:solidFill>
                  <a:prstClr val="black"/>
                </a:solidFill>
                <a:latin typeface="Segoe UI Light" pitchFamily="34" charset="0"/>
              </a:rPr>
              <a:t>Write-Warning "Test!" 3&gt; Warnings.txt</a:t>
            </a:r>
          </a:p>
          <a:p>
            <a:pPr lvl="0" defTabSz="914460">
              <a:lnSpc>
                <a:spcPct val="90000"/>
              </a:lnSpc>
              <a:spcAft>
                <a:spcPts val="333"/>
              </a:spcAft>
            </a:pPr>
            <a:endParaRPr lang="en-US" sz="882">
              <a:solidFill>
                <a:prstClr val="black"/>
              </a:solidFill>
              <a:latin typeface="Segoe UI Light" pitchFamily="34" charset="0"/>
            </a:endParaRPr>
          </a:p>
          <a:p>
            <a:pPr lvl="0" defTabSz="914460">
              <a:lnSpc>
                <a:spcPct val="90000"/>
              </a:lnSpc>
              <a:spcAft>
                <a:spcPts val="333"/>
              </a:spcAft>
            </a:pPr>
            <a:r>
              <a:rPr lang="en-US" sz="882">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91702000"/>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221421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2756780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706503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674446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09407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82579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4030832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49346631"/>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12726518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259215030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247716293"/>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056224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12373953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9743237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7756888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0815708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324116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3206646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495341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6561008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502570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7620556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7406163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2609514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7980883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8770912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1507107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69859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4470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939657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0696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49847011"/>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03086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537474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64214311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020334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72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7175260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49689361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391446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 y="-1"/>
            <a:ext cx="12191136" cy="6858487"/>
          </a:xfrm>
          <a:prstGeom prst="rect">
            <a:avLst/>
          </a:prstGeom>
        </p:spPr>
      </p:pic>
      <p:sp>
        <p:nvSpPr>
          <p:cNvPr id="2" name="Rectangle 1"/>
          <p:cNvSpPr/>
          <p:nvPr/>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solidFill>
                  <a:schemeClr val="bg1"/>
                </a:solidFill>
              </a:rPr>
              <a:t>Microsoft Services</a:t>
            </a:r>
            <a:endParaRPr lang="en-US" sz="2353">
              <a:solidFill>
                <a:schemeClr val="bg1"/>
              </a:solidFill>
              <a:latin typeface="Segoe UI"/>
            </a:endParaRPr>
          </a:p>
        </p:txBody>
      </p:sp>
    </p:spTree>
    <p:extLst>
      <p:ext uri="{BB962C8B-B14F-4D97-AF65-F5344CB8AC3E}">
        <p14:creationId xmlns:p14="http://schemas.microsoft.com/office/powerpoint/2010/main" val="4087606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548028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6624827"/>
      </p:ext>
    </p:extLst>
  </p:cSld>
  <p:clrMapOvr>
    <a:masterClrMapping/>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650173"/>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8311969"/>
      </p:ext>
    </p:extLst>
  </p:cSld>
  <p:clrMapOvr>
    <a:masterClrMapping/>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69689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080721"/>
      </p:ext>
    </p:extLst>
  </p:cSld>
  <p:clrMapOvr>
    <a:masterClrMapping/>
  </p:clrMapOvr>
  <p:transition>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0337074"/>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65176"/>
      </p:ext>
    </p:extLst>
  </p:cSld>
  <p:clrMapOvr>
    <a:masterClrMapping/>
  </p:clrMapOvr>
  <p:transition>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9478354"/>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6789511"/>
      </p:ext>
    </p:extLst>
  </p:cSld>
  <p:clrMapOvr>
    <a:masterClrMapping/>
  </p:clrMapOvr>
  <p:transition>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7534056"/>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5128818"/>
      </p:ext>
    </p:extLst>
  </p:cSld>
  <p:clrMapOvr>
    <a:masterClrMapping/>
  </p:clrMapOvr>
  <p:transition>
    <p:fade/>
  </p:transition>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719128510"/>
      </p:ext>
    </p:extLst>
  </p:cSld>
  <p:clrMapOvr>
    <a:masterClrMapping/>
  </p:clrMapOvr>
  <p:transition>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9983600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21445"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376" indent="0">
              <a:buNone/>
              <a:defRPr sz="2700" b="1"/>
            </a:lvl2pPr>
            <a:lvl3pPr marL="1218753" indent="0">
              <a:buNone/>
              <a:defRPr sz="2400" b="1"/>
            </a:lvl3pPr>
            <a:lvl4pPr marL="1828129" indent="0">
              <a:buNone/>
              <a:defRPr sz="2100" b="1"/>
            </a:lvl4pPr>
            <a:lvl5pPr marL="2437505" indent="0">
              <a:buNone/>
              <a:defRPr sz="2100" b="1"/>
            </a:lvl5pPr>
            <a:lvl6pPr marL="3046882" indent="0">
              <a:buNone/>
              <a:defRPr sz="2100" b="1"/>
            </a:lvl6pPr>
            <a:lvl7pPr marL="3656258" indent="0">
              <a:buNone/>
              <a:defRPr sz="2100" b="1"/>
            </a:lvl7pPr>
            <a:lvl8pPr marL="4265633" indent="0">
              <a:buNone/>
              <a:defRPr sz="2100" b="1"/>
            </a:lvl8pPr>
            <a:lvl9pPr marL="4875010"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064" indent="-380860">
              <a:defRPr lang="en-US" sz="2100" kern="1200" dirty="0" smtClean="0">
                <a:solidFill>
                  <a:schemeClr val="bg2">
                    <a:lumMod val="50000"/>
                  </a:schemeClr>
                </a:solidFill>
                <a:latin typeface="+mn-lt"/>
                <a:ea typeface="+mn-ea"/>
                <a:cs typeface="Arial" pitchFamily="34" charset="0"/>
              </a:defRPr>
            </a:lvl2pPr>
            <a:lvl3pPr marL="914064" indent="-228516">
              <a:defRPr lang="en-US" sz="1900" kern="1200" dirty="0" smtClean="0">
                <a:solidFill>
                  <a:schemeClr val="bg2">
                    <a:lumMod val="50000"/>
                  </a:schemeClr>
                </a:solidFill>
                <a:latin typeface="+mn-lt"/>
                <a:ea typeface="+mn-ea"/>
                <a:cs typeface="Arial" pitchFamily="34" charset="0"/>
              </a:defRPr>
            </a:lvl3pPr>
            <a:lvl4pPr marL="1218753" indent="-228516">
              <a:defRPr lang="en-US" sz="1600" kern="1200" dirty="0" smtClean="0">
                <a:solidFill>
                  <a:schemeClr val="bg2">
                    <a:lumMod val="50000"/>
                  </a:schemeClr>
                </a:solidFill>
                <a:latin typeface="+mn-lt"/>
                <a:ea typeface="+mn-ea"/>
                <a:cs typeface="Arial" pitchFamily="34" charset="0"/>
              </a:defRPr>
            </a:lvl4pPr>
            <a:lvl5pPr marL="1447269" indent="-228516">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3065150"/>
            <a:ext cx="5981670" cy="727700"/>
          </a:xfrm>
        </p:spPr>
        <p:txBody>
          <a:bodyPr lIns="182880" anchor="ctr"/>
          <a:lstStyle>
            <a:lvl1pPr marL="0" indent="0" algn="l">
              <a:buNone/>
              <a:defRPr/>
            </a:lvl1pPr>
          </a:lstStyle>
          <a:p>
            <a:r>
              <a:rPr lang="en-US"/>
              <a:t>Click to insert photo.</a:t>
            </a:r>
          </a:p>
        </p:txBody>
      </p:sp>
    </p:spTree>
    <p:extLst>
      <p:ext uri="{BB962C8B-B14F-4D97-AF65-F5344CB8AC3E}">
        <p14:creationId xmlns:p14="http://schemas.microsoft.com/office/powerpoint/2010/main" val="28589687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58645064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0271" cy="6855012"/>
          </a:xfrm>
          <a:prstGeom prst="rect">
            <a:avLst/>
          </a:prstGeom>
        </p:spPr>
      </p:pic>
      <p:sp>
        <p:nvSpPr>
          <p:cNvPr id="12" name="Rectangle 11"/>
          <p:cNvSpPr/>
          <p:nvPr/>
        </p:nvSpPr>
        <p:spPr bwMode="auto">
          <a:xfrm>
            <a:off x="263887" y="4618991"/>
            <a:ext cx="6276593" cy="35830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2195930"/>
            <a:ext cx="12191377" cy="4662070"/>
          </a:xfrm>
          <a:prstGeom prst="rect">
            <a:avLst/>
          </a:prstGeom>
          <a:gradFill>
            <a:gsLst>
              <a:gs pos="0">
                <a:srgbClr val="000000">
                  <a:alpha val="0"/>
                </a:srgbClr>
              </a:gs>
              <a:gs pos="70000">
                <a:srgbClr val="000000">
                  <a:alpha val="85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765"/>
          </a:p>
        </p:txBody>
      </p:sp>
      <p:sp>
        <p:nvSpPr>
          <p:cNvPr id="13" name="Title 1"/>
          <p:cNvSpPr>
            <a:spLocks noGrp="1"/>
          </p:cNvSpPr>
          <p:nvPr>
            <p:ph type="title" hasCustomPrompt="1"/>
          </p:nvPr>
        </p:nvSpPr>
        <p:spPr bwMode="auto">
          <a:xfrm>
            <a:off x="268928" y="4146233"/>
            <a:ext cx="8964248" cy="1524138"/>
          </a:xfrm>
          <a:noFill/>
        </p:spPr>
        <p:txBody>
          <a:bodyPr lIns="146304" tIns="91440" rIns="146304" bIns="91440" anchor="b" anchorCtr="0">
            <a:noAutofit/>
          </a:bodyPr>
          <a:lstStyle>
            <a:lvl1pPr marL="0" algn="l" defTabSz="896042" rtl="0" eaLnBrk="1" latinLnBrk="0" hangingPunct="1">
              <a:defRPr lang="en-US" sz="4704" b="0" kern="1200" spc="-98" baseline="0" dirty="0">
                <a:gradFill>
                  <a:gsLst>
                    <a:gs pos="0">
                      <a:srgbClr val="FFFFFF"/>
                    </a:gs>
                    <a:gs pos="70000">
                      <a:srgbClr val="FFFFFF"/>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4" name="Text Placeholder 2"/>
          <p:cNvSpPr>
            <a:spLocks noGrp="1"/>
          </p:cNvSpPr>
          <p:nvPr>
            <p:ph type="body" sz="quarter" idx="14" hasCustomPrompt="1"/>
          </p:nvPr>
        </p:nvSpPr>
        <p:spPr bwMode="auto">
          <a:xfrm>
            <a:off x="268928" y="5670355"/>
            <a:ext cx="8964248" cy="896577"/>
          </a:xfrm>
        </p:spPr>
        <p:txBody>
          <a:bodyPr tIns="91440" bIns="91440">
            <a:noAutofit/>
          </a:bodyPr>
          <a:lstStyle>
            <a:lvl1pPr marL="0" marR="0" indent="0" algn="l" defTabSz="896042" rtl="0" eaLnBrk="1" fontAlgn="auto" latinLnBrk="0" hangingPunct="1">
              <a:lnSpc>
                <a:spcPct val="90000"/>
              </a:lnSpc>
              <a:spcBef>
                <a:spcPts val="0"/>
              </a:spcBef>
              <a:spcAft>
                <a:spcPts val="0"/>
              </a:spcAft>
              <a:buClrTx/>
              <a:buSzPct val="90000"/>
              <a:buFont typeface="Arial" pitchFamily="34" charset="0"/>
              <a:buNone/>
              <a:tabLst/>
              <a:defRPr lang="en-US" sz="2353" kern="1200" spc="0" baseline="0" dirty="0" smtClean="0">
                <a:gradFill>
                  <a:gsLst>
                    <a:gs pos="0">
                      <a:srgbClr val="FFFFFF"/>
                    </a:gs>
                    <a:gs pos="70000">
                      <a:srgbClr val="FFFFFF"/>
                    </a:gs>
                  </a:gsLst>
                  <a:lin ang="5400000" scaled="1"/>
                </a:gradFill>
                <a:latin typeface="+mn-lt"/>
                <a:ea typeface="+mn-ea"/>
                <a:cs typeface="Bodoni Std Bold Italic"/>
              </a:defRPr>
            </a:lvl1pPr>
          </a:lstStyle>
          <a:p>
            <a:pPr marL="0" marR="0" lvl="0" indent="0" algn="l" defTabSz="896042" rtl="0" eaLnBrk="1" fontAlgn="auto" latinLnBrk="0" hangingPunct="1">
              <a:lnSpc>
                <a:spcPct val="90000"/>
              </a:lnSpc>
              <a:spcBef>
                <a:spcPts val="0"/>
              </a:spcBef>
              <a:spcAft>
                <a:spcPts val="0"/>
              </a:spcAft>
              <a:buClrTx/>
              <a:buSzPct val="90000"/>
              <a:buFont typeface="Arial" pitchFamily="34" charset="0"/>
              <a:buNone/>
              <a:tabLst/>
              <a:defRPr/>
            </a:pPr>
            <a:r>
              <a:rPr lang="en-US"/>
              <a:t>Click to edit Master text styles</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84905" y="5927830"/>
            <a:ext cx="1737792" cy="639069"/>
          </a:xfrm>
          <a:prstGeom prst="rect">
            <a:avLst/>
          </a:prstGeom>
        </p:spPr>
      </p:pic>
    </p:spTree>
    <p:extLst>
      <p:ext uri="{BB962C8B-B14F-4D97-AF65-F5344CB8AC3E}">
        <p14:creationId xmlns:p14="http://schemas.microsoft.com/office/powerpoint/2010/main" val="163055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1622839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1" y="437142"/>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7135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EB449E6-CBCC-4C04-8565-2233B330287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CA7B384-EBD3-4344-8051-A6F2C2EF39AC}"/>
              </a:ext>
            </a:extLst>
          </p:cNvPr>
          <p:cNvSpPr/>
          <p:nvPr userDrawn="1"/>
        </p:nvSpPr>
        <p:spPr bwMode="auto">
          <a:xfrm rot="16200000">
            <a:off x="2667000" y="-2667000"/>
            <a:ext cx="6858001" cy="12191999"/>
          </a:xfrm>
          <a:prstGeom prst="rect">
            <a:avLst/>
          </a:prstGeom>
          <a:gradFill flip="none" rotWithShape="1">
            <a:gsLst>
              <a:gs pos="0">
                <a:srgbClr val="000000">
                  <a:alpha val="10000"/>
                </a:srgbClr>
              </a:gs>
              <a:gs pos="100000">
                <a:srgbClr val="000000">
                  <a:alpha val="26000"/>
                </a:srgbClr>
              </a:gs>
              <a:gs pos="60000">
                <a:srgbClr val="000000">
                  <a:alpha val="25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71CE4DB-A319-4480-8EB7-E81582E9274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2046153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80332799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7521318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84439038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92459991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2"/>
            <a:ext cx="5982390" cy="6858000"/>
          </a:xfrm>
          <a:blipFill dpi="0" rotWithShape="1">
            <a:blip r:embed="rId2" cstate="screen">
              <a:extLst>
                <a:ext uri="{28A0092B-C50C-407E-A947-70E740481C1C}">
                  <a14:useLocalDpi xmlns:a14="http://schemas.microsoft.com/office/drawing/2010/main" val="0"/>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25826933"/>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8"/>
            <a:ext cx="3634002" cy="2583814"/>
          </a:xfrm>
          <a:blipFill>
            <a:blip r:embed="rId4">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10535695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13550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3"/>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0715216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937963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953239"/>
            <a:ext cx="2653417" cy="3128965"/>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953239"/>
            <a:ext cx="2653417" cy="3128965"/>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953239"/>
            <a:ext cx="2653417" cy="3128965"/>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953239"/>
            <a:ext cx="2653417" cy="3128965"/>
          </a:xfrm>
          <a:prstGeom prst="rect">
            <a:avLst/>
          </a:prstGeom>
          <a:solidFill>
            <a:schemeClr val="bg1">
              <a:lumMod val="95000"/>
            </a:scheme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498388"/>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498388"/>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9757" y="5339608"/>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3965" y="5339608"/>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8172" y="5339608"/>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498388"/>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498388"/>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12377" y="5339608"/>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164598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68831502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757866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805113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1"/>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125509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455197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9544" y="437139"/>
            <a:ext cx="896425" cy="190218"/>
          </a:xfrm>
          <a:prstGeom prst="rect">
            <a:avLst/>
          </a:prstGeom>
        </p:spPr>
      </p:pic>
    </p:spTree>
    <p:extLst>
      <p:ext uri="{BB962C8B-B14F-4D97-AF65-F5344CB8AC3E}">
        <p14:creationId xmlns:p14="http://schemas.microsoft.com/office/powerpoint/2010/main" val="3119913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4278826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2971639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9381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lide photo 2">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D62410A-0D53-4832-8B9E-FD3BCEF9A9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
          <a:stretch/>
        </p:blipFill>
        <p:spPr>
          <a:xfrm>
            <a:off x="4" y="0"/>
            <a:ext cx="12190271" cy="6858000"/>
          </a:xfrm>
          <a:prstGeom prst="rect">
            <a:avLst/>
          </a:prstGeom>
        </p:spPr>
      </p:pic>
      <p:sp>
        <p:nvSpPr>
          <p:cNvPr id="7" name="Rectangle 6">
            <a:extLst>
              <a:ext uri="{FF2B5EF4-FFF2-40B4-BE49-F238E27FC236}">
                <a16:creationId xmlns:a16="http://schemas.microsoft.com/office/drawing/2014/main" id="{2CA7B384-EBD3-4344-8051-A6F2C2EF39AC}"/>
              </a:ext>
            </a:extLst>
          </p:cNvPr>
          <p:cNvSpPr/>
          <p:nvPr userDrawn="1"/>
        </p:nvSpPr>
        <p:spPr bwMode="auto">
          <a:xfrm rot="16200000">
            <a:off x="2667001" y="-2667000"/>
            <a:ext cx="6858001" cy="12192001"/>
          </a:xfrm>
          <a:prstGeom prst="rect">
            <a:avLst/>
          </a:prstGeom>
          <a:gradFill flip="none" rotWithShape="1">
            <a:gsLst>
              <a:gs pos="21000">
                <a:srgbClr val="000000">
                  <a:alpha val="45000"/>
                </a:srgbClr>
              </a:gs>
              <a:gs pos="86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71CE4DB-A319-4480-8EB7-E81582E9274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428681" y="437142"/>
            <a:ext cx="896425" cy="191140"/>
          </a:xfrm>
          <a:prstGeom prst="rect">
            <a:avLst/>
          </a:prstGeom>
        </p:spPr>
      </p:pic>
    </p:spTree>
    <p:extLst>
      <p:ext uri="{BB962C8B-B14F-4D97-AF65-F5344CB8AC3E}">
        <p14:creationId xmlns:p14="http://schemas.microsoft.com/office/powerpoint/2010/main" val="2120387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4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07594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281277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6687412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3</a:t>
            </a:r>
          </a:p>
        </p:txBody>
      </p:sp>
    </p:spTree>
    <p:extLst>
      <p:ext uri="{BB962C8B-B14F-4D97-AF65-F5344CB8AC3E}">
        <p14:creationId xmlns:p14="http://schemas.microsoft.com/office/powerpoint/2010/main" val="33750778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5897535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4.png"/><Relationship Id="rId2" Type="http://schemas.openxmlformats.org/officeDocument/2006/relationships/slideLayout" Target="../slideLayouts/slideLayout46.xml"/><Relationship Id="rId16"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5794731"/>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1278715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9" r:id="rId15"/>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405506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401">
          <p15:clr>
            <a:srgbClr val="C35EA4"/>
          </p15:clr>
        </p15:guide>
        <p15:guide id="4" pos="1548">
          <p15:clr>
            <a:srgbClr val="C35EA4"/>
          </p15:clr>
        </p15:guide>
        <p15:guide id="5" pos="2661">
          <p15:clr>
            <a:srgbClr val="C35EA4"/>
          </p15:clr>
        </p15:guide>
        <p15:guide id="6" pos="2807">
          <p15:clr>
            <a:srgbClr val="C35EA4"/>
          </p15:clr>
        </p15:guide>
        <p15:guide id="7" pos="3922">
          <p15:clr>
            <a:srgbClr val="C35EA4"/>
          </p15:clr>
        </p15:guide>
        <p15:guide id="8" pos="4070">
          <p15:clr>
            <a:srgbClr val="C35EA4"/>
          </p15:clr>
        </p15:guide>
        <p15:guide id="9" pos="5182">
          <p15:clr>
            <a:srgbClr val="C35EA4"/>
          </p15:clr>
        </p15:guide>
        <p15:guide id="10" pos="5328">
          <p15:clr>
            <a:srgbClr val="C35EA4"/>
          </p15:clr>
        </p15:guide>
        <p15:guide id="11" pos="6445">
          <p15:clr>
            <a:srgbClr val="C35EA4"/>
          </p15:clr>
        </p15:guide>
        <p15:guide id="12" pos="6591">
          <p15:clr>
            <a:srgbClr val="C35EA4"/>
          </p15:clr>
        </p15:guide>
        <p15:guide id="16" pos="280">
          <p15:clr>
            <a:srgbClr val="F26B43"/>
          </p15:clr>
        </p15:guide>
        <p15:guide id="17" pos="7712">
          <p15:clr>
            <a:srgbClr val="F26B43"/>
          </p15:clr>
        </p15:guide>
        <p15:guide id="18" orient="horz" pos="773">
          <p15:clr>
            <a:srgbClr val="5ACBF0"/>
          </p15:clr>
        </p15:guide>
        <p15:guide id="19" orient="horz" pos="1399">
          <p15:clr>
            <a:srgbClr val="5ACBF0"/>
          </p15:clr>
        </p15:guide>
        <p15:guide id="20" orient="horz" pos="624">
          <p15:clr>
            <a:srgbClr val="5ACBF0"/>
          </p15:clr>
        </p15:guide>
        <p15:guide id="21" orient="horz" pos="1545">
          <p15:clr>
            <a:srgbClr val="5ACBF0"/>
          </p15:clr>
        </p15:guide>
        <p15:guide id="22" orient="horz" pos="2169">
          <p15:clr>
            <a:srgbClr val="5ACBF0"/>
          </p15:clr>
        </p15:guide>
        <p15:guide id="23" orient="horz" pos="2320">
          <p15:clr>
            <a:srgbClr val="5ACBF0"/>
          </p15:clr>
        </p15:guide>
        <p15:guide id="25" orient="horz" pos="286">
          <p15:clr>
            <a:srgbClr val="F26B43"/>
          </p15:clr>
        </p15:guide>
        <p15:guide id="26" orient="horz" pos="4209">
          <p15:clr>
            <a:srgbClr val="F26B43"/>
          </p15:clr>
        </p15:guide>
        <p15:guide id="27" orient="horz" pos="2947">
          <p15:clr>
            <a:srgbClr val="5ACBF0"/>
          </p15:clr>
        </p15:guide>
        <p15:guide id="28" orient="horz" pos="3092">
          <p15:clr>
            <a:srgbClr val="5ACBF0"/>
          </p15:clr>
        </p15:guide>
        <p15:guide id="29" orient="horz" pos="3721">
          <p15:clr>
            <a:srgbClr val="5ACBF0"/>
          </p15:clr>
        </p15:guide>
        <p15:guide id="30" orient="horz" pos="3867">
          <p15:clr>
            <a:srgbClr val="5ACBF0"/>
          </p15:clr>
        </p15:guide>
      </p15:sldGuideLst>
    </p:ext>
  </p:extLst>
</p:sldMaster>
</file>

<file path=ppt/slides/_rels/slide1.xml.rels>&#65279;<?xml version="1.0" encoding="utf-8"?><Relationships xmlns="http://schemas.openxmlformats.org/package/2006/relationships"><Relationship Type="http://schemas.openxmlformats.org/officeDocument/2006/relationships/slideLayout" Target="../slideLayouts/slideLayout6.xml" Id="rId3" /><Relationship Type="http://schemas.openxmlformats.org/officeDocument/2006/relationships/customXml" Target="../../customXml/item14.xml" Id="rId2" /><Relationship Type="http://schemas.openxmlformats.org/officeDocument/2006/relationships/tags" Target="../tags/tag6.xml" Id="rId1" /><Relationship Type="http://schemas.openxmlformats.org/officeDocument/2006/relationships/notesSlide" Target="../notesSlides/notesSlide1.xml" Id="rId4" /></Relationships>
</file>

<file path=ppt/slides/_rels/slide10.xml.rels>&#65279;<?xml version="1.0" encoding="utf-8"?><Relationships xmlns="http://schemas.openxmlformats.org/package/2006/relationships"><Relationship Type="http://schemas.openxmlformats.org/officeDocument/2006/relationships/slideLayout" Target="../slideLayouts/slideLayout16.xml" Id="rId3" /><Relationship Type="http://schemas.openxmlformats.org/officeDocument/2006/relationships/customXml" Target="../../customXml/item18.xml" Id="rId2" /><Relationship Type="http://schemas.openxmlformats.org/officeDocument/2006/relationships/tags" Target="../tags/tag19.xml" Id="rId1" /><Relationship Type="http://schemas.openxmlformats.org/officeDocument/2006/relationships/notesSlide" Target="../notesSlides/notesSlide10.xml" Id="rId4" /></Relationships>
</file>

<file path=ppt/slides/_rels/slide11.xml.rels>&#65279;<?xml version="1.0" encoding="utf-8"?><Relationships xmlns="http://schemas.openxmlformats.org/package/2006/relationships"><Relationship Type="http://schemas.openxmlformats.org/officeDocument/2006/relationships/diagramColors" Target="../diagrams/colors2.xml" Id="rId8" /><Relationship Type="http://schemas.openxmlformats.org/officeDocument/2006/relationships/diagramColors" Target="../diagrams/colors3.xml" Id="rId13" /><Relationship Type="http://schemas.openxmlformats.org/officeDocument/2006/relationships/diagramColors" Target="../diagrams/colors4.xml" Id="rId18" /><Relationship Type="http://schemas.openxmlformats.org/officeDocument/2006/relationships/notesSlide" Target="../notesSlides/notesSlide11.xml" Id="rId3" /><Relationship Type="http://schemas.openxmlformats.org/officeDocument/2006/relationships/diagramQuickStyle" Target="../diagrams/quickStyle2.xml" Id="rId7" /><Relationship Type="http://schemas.openxmlformats.org/officeDocument/2006/relationships/diagramQuickStyle" Target="../diagrams/quickStyle3.xml" Id="rId12" /><Relationship Type="http://schemas.openxmlformats.org/officeDocument/2006/relationships/diagramQuickStyle" Target="../diagrams/quickStyle4.xml" Id="rId17" /><Relationship Type="http://schemas.openxmlformats.org/officeDocument/2006/relationships/slideLayout" Target="../slideLayouts/slideLayout8.xml" Id="rId2" /><Relationship Type="http://schemas.openxmlformats.org/officeDocument/2006/relationships/diagramLayout" Target="../diagrams/layout4.xml" Id="rId16" /><Relationship Type="http://schemas.openxmlformats.org/officeDocument/2006/relationships/tags" Target="../tags/tag20.xml" Id="rId1" /><Relationship Type="http://schemas.openxmlformats.org/officeDocument/2006/relationships/diagramLayout" Target="../diagrams/layout2.xml" Id="rId6" /><Relationship Type="http://schemas.openxmlformats.org/officeDocument/2006/relationships/diagramLayout" Target="../diagrams/layout3.xml" Id="rId11" /><Relationship Type="http://schemas.openxmlformats.org/officeDocument/2006/relationships/diagramData" Target="../diagrams/data2.xml" Id="rId5" /><Relationship Type="http://schemas.openxmlformats.org/officeDocument/2006/relationships/diagramData" Target="../diagrams/data4.xml" Id="rId15" /><Relationship Type="http://schemas.openxmlformats.org/officeDocument/2006/relationships/diagramData" Target="../diagrams/data3.xml" Id="rId10" /><Relationship Type="http://schemas.microsoft.com/office/2007/relationships/diagramDrawing" Target="../diagrams/drawing4.xml" Id="rId19" /><Relationship Type="http://schemas.microsoft.com/office/2007/relationships/diagramDrawing" Target="../diagrams/drawing2.xml" Id="rId9" /><Relationship Type="http://schemas.microsoft.com/office/2007/relationships/diagramDrawing" Target="../diagrams/drawing3.xml" Id="rId14" /></Relationships>
</file>

<file path=ppt/slides/_rels/slide12.xml.rels>&#65279;<?xml version="1.0" encoding="utf-8"?><Relationships xmlns="http://schemas.openxmlformats.org/package/2006/relationships"><Relationship Type="http://schemas.openxmlformats.org/officeDocument/2006/relationships/diagramColors" Target="../diagrams/colors5.xml" Id="rId8" /><Relationship Type="http://schemas.openxmlformats.org/officeDocument/2006/relationships/notesSlide" Target="../notesSlides/notesSlide12.xml" Id="rId3" /><Relationship Type="http://schemas.openxmlformats.org/officeDocument/2006/relationships/diagramQuickStyle" Target="../diagrams/quickStyle5.xml" Id="rId7" /><Relationship Type="http://schemas.openxmlformats.org/officeDocument/2006/relationships/slideLayout" Target="../slideLayouts/slideLayout13.xml" Id="rId2" /><Relationship Type="http://schemas.openxmlformats.org/officeDocument/2006/relationships/tags" Target="../tags/tag21.xml" Id="rId1" /><Relationship Type="http://schemas.openxmlformats.org/officeDocument/2006/relationships/diagramLayout" Target="../diagrams/layout5.xml" Id="rId6" /><Relationship Type="http://schemas.openxmlformats.org/officeDocument/2006/relationships/diagramData" Target="../diagrams/data5.xml" Id="rId5" /><Relationship Type="http://schemas.microsoft.com/office/2007/relationships/diagramDrawing" Target="../diagrams/drawing5.xml" Id="rId9" /></Relationships>
</file>

<file path=ppt/slides/_rels/slide14.xml.rels>&#65279;<?xml version="1.0" encoding="utf-8"?><Relationships xmlns="http://schemas.openxmlformats.org/package/2006/relationships"><Relationship Type="http://schemas.openxmlformats.org/officeDocument/2006/relationships/diagramColors" Target="../diagrams/colors7.xml" Id="rId8" /><Relationship Type="http://schemas.openxmlformats.org/officeDocument/2006/relationships/diagramColors" Target="../diagrams/colors8.xml" Id="rId13" /><Relationship Type="http://schemas.openxmlformats.org/officeDocument/2006/relationships/notesSlide" Target="../notesSlides/notesSlide14.xml" Id="rId3" /><Relationship Type="http://schemas.openxmlformats.org/officeDocument/2006/relationships/diagramQuickStyle" Target="../diagrams/quickStyle7.xml" Id="rId7" /><Relationship Type="http://schemas.openxmlformats.org/officeDocument/2006/relationships/diagramQuickStyle" Target="../diagrams/quickStyle8.xml" Id="rId12" /><Relationship Type="http://schemas.openxmlformats.org/officeDocument/2006/relationships/slideLayout" Target="../slideLayouts/slideLayout13.xml" Id="rId2" /><Relationship Type="http://schemas.openxmlformats.org/officeDocument/2006/relationships/tags" Target="../tags/tag23.xml" Id="rId1" /><Relationship Type="http://schemas.openxmlformats.org/officeDocument/2006/relationships/diagramLayout" Target="../diagrams/layout7.xml" Id="rId6" /><Relationship Type="http://schemas.openxmlformats.org/officeDocument/2006/relationships/diagramLayout" Target="../diagrams/layout8.xml" Id="rId11" /><Relationship Type="http://schemas.openxmlformats.org/officeDocument/2006/relationships/diagramData" Target="../diagrams/data7.xml" Id="rId5" /><Relationship Type="http://schemas.openxmlformats.org/officeDocument/2006/relationships/diagramData" Target="../diagrams/data8.xml" Id="rId10" /><Relationship Type="http://schemas.microsoft.com/office/2007/relationships/diagramDrawing" Target="../diagrams/drawing7.xml" Id="rId9" /><Relationship Type="http://schemas.microsoft.com/office/2007/relationships/diagramDrawing" Target="../diagrams/drawing8.xml" Id="rId14" /></Relationships>
</file>

<file path=ppt/slides/_rels/slide16.xml.rels><?xml version="1.0" encoding="UTF-8" standalone="yes"?>
<Relationships xmlns="http://schemas.openxmlformats.org/package/2006/relationships"><Relationship Id="rId8" Type="http://schemas.microsoft.com/office/2007/relationships/diagramDrawing" Target="../diagrams/drawing11.xml"/><Relationship Id="rId13" Type="http://schemas.microsoft.com/office/2007/relationships/diagramDrawing" Target="../diagrams/drawing12.xml"/><Relationship Id="rId3" Type="http://schemas.openxmlformats.org/officeDocument/2006/relationships/notesSlide" Target="../notesSlides/notesSlide16.xml"/><Relationship Id="rId7" Type="http://schemas.openxmlformats.org/officeDocument/2006/relationships/diagramColors" Target="../diagrams/colors11.xml"/><Relationship Id="rId12" Type="http://schemas.openxmlformats.org/officeDocument/2006/relationships/diagramColors" Target="../diagrams/colors12.xml"/><Relationship Id="rId2" Type="http://schemas.openxmlformats.org/officeDocument/2006/relationships/slideLayout" Target="../slideLayouts/slideLayout13.xml"/><Relationship Id="rId1" Type="http://schemas.openxmlformats.org/officeDocument/2006/relationships/tags" Target="../tags/tag25.xml"/><Relationship Id="rId6" Type="http://schemas.openxmlformats.org/officeDocument/2006/relationships/diagramQuickStyle" Target="../diagrams/quickStyle11.xml"/><Relationship Id="rId11" Type="http://schemas.openxmlformats.org/officeDocument/2006/relationships/diagramQuickStyle" Target="../diagrams/quickStyle12.xml"/><Relationship Id="rId5" Type="http://schemas.openxmlformats.org/officeDocument/2006/relationships/diagramLayout" Target="../diagrams/layout11.xml"/><Relationship Id="rId10" Type="http://schemas.openxmlformats.org/officeDocument/2006/relationships/diagramLayout" Target="../diagrams/layout12.xml"/><Relationship Id="rId4" Type="http://schemas.openxmlformats.org/officeDocument/2006/relationships/diagramData" Target="../diagrams/data11.xml"/><Relationship Id="rId9" Type="http://schemas.openxmlformats.org/officeDocument/2006/relationships/diagramData" Target="../diagrams/data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4.jpe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5.jpeg"/><Relationship Id="rId4" Type="http://schemas.openxmlformats.org/officeDocument/2006/relationships/notesSlide" Target="../notesSlides/notesSlide18.xml"/></Relationships>
</file>

<file path=ppt/slides/_rels/slide19.xml.rels>&#65279;<?xml version="1.0" encoding="utf-8"?><Relationships xmlns="http://schemas.openxmlformats.org/package/2006/relationships"><Relationship Type="http://schemas.openxmlformats.org/officeDocument/2006/relationships/diagramColors" Target="../diagrams/colors13.xml" Id="rId8" /><Relationship Type="http://schemas.openxmlformats.org/officeDocument/2006/relationships/notesSlide" Target="../notesSlides/notesSlide19.xml" Id="rId3" /><Relationship Type="http://schemas.openxmlformats.org/officeDocument/2006/relationships/diagramQuickStyle" Target="../diagrams/quickStyle13.xml" Id="rId7" /><Relationship Type="http://schemas.openxmlformats.org/officeDocument/2006/relationships/slideLayout" Target="../slideLayouts/slideLayout13.xml" Id="rId2" /><Relationship Type="http://schemas.openxmlformats.org/officeDocument/2006/relationships/tags" Target="../tags/tag30.xml" Id="rId1" /><Relationship Type="http://schemas.openxmlformats.org/officeDocument/2006/relationships/diagramLayout" Target="../diagrams/layout13.xml" Id="rId6" /><Relationship Type="http://schemas.openxmlformats.org/officeDocument/2006/relationships/diagramData" Target="../diagrams/data13.xml" Id="rId5" /><Relationship Type="http://schemas.microsoft.com/office/2007/relationships/diagramDrawing" Target="../diagrams/drawing13.xml" Id="rId9" /></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65279;<?xml version="1.0" encoding="utf-8"?><Relationships xmlns="http://schemas.openxmlformats.org/package/2006/relationships"><Relationship Type="http://schemas.openxmlformats.org/officeDocument/2006/relationships/diagramColors" Target="../diagrams/colors14.xml" Id="rId8" /><Relationship Type="http://schemas.openxmlformats.org/officeDocument/2006/relationships/notesSlide" Target="../notesSlides/notesSlide20.xml" Id="rId3" /><Relationship Type="http://schemas.openxmlformats.org/officeDocument/2006/relationships/diagramQuickStyle" Target="../diagrams/quickStyle14.xml" Id="rId7" /><Relationship Type="http://schemas.openxmlformats.org/officeDocument/2006/relationships/slideLayout" Target="../slideLayouts/slideLayout8.xml" Id="rId2" /><Relationship Type="http://schemas.openxmlformats.org/officeDocument/2006/relationships/tags" Target="../tags/tag31.xml" Id="rId1" /><Relationship Type="http://schemas.openxmlformats.org/officeDocument/2006/relationships/diagramLayout" Target="../diagrams/layout14.xml" Id="rId6" /><Relationship Type="http://schemas.openxmlformats.org/officeDocument/2006/relationships/diagramData" Target="../diagrams/data14.xml" Id="rId5" /><Relationship Type="http://schemas.microsoft.com/office/2007/relationships/diagramDrawing" Target="../diagrams/drawing14.xml" Id="rId9" /></Relationships>
</file>

<file path=ppt/slides/_rels/slide21.xml.rels>&#65279;<?xml version="1.0" encoding="utf-8"?><Relationships xmlns="http://schemas.openxmlformats.org/package/2006/relationships"><Relationship Type="http://schemas.openxmlformats.org/officeDocument/2006/relationships/notesSlide" Target="../notesSlides/notesSlide21.xml" Id="rId3" /><Relationship Type="http://schemas.openxmlformats.org/officeDocument/2006/relationships/slideLayout" Target="../slideLayouts/slideLayout8.xml" Id="rId2" /><Relationship Type="http://schemas.openxmlformats.org/officeDocument/2006/relationships/tags" Target="../tags/tag32.xml" Id="rId1" /></Relationships>
</file>

<file path=ppt/slides/_rels/slide23.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23.xml"/><Relationship Id="rId7" Type="http://schemas.openxmlformats.org/officeDocument/2006/relationships/diagramColors" Target="../diagrams/colors16.xml"/><Relationship Id="rId2" Type="http://schemas.openxmlformats.org/officeDocument/2006/relationships/slideLayout" Target="../slideLayouts/slideLayout8.xml"/><Relationship Id="rId1" Type="http://schemas.openxmlformats.org/officeDocument/2006/relationships/tags" Target="../tags/tag34.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25.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notesSlide" Target="../notesSlides/notesSlide25.xml"/><Relationship Id="rId7" Type="http://schemas.openxmlformats.org/officeDocument/2006/relationships/diagramColors" Target="../diagrams/colors17.xml"/><Relationship Id="rId2" Type="http://schemas.openxmlformats.org/officeDocument/2006/relationships/slideLayout" Target="../slideLayouts/slideLayout11.xml"/><Relationship Id="rId1" Type="http://schemas.openxmlformats.org/officeDocument/2006/relationships/tags" Target="../tags/tag36.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slideLayout" Target="../slideLayouts/slideLayout8.xml"/><Relationship Id="rId7" Type="http://schemas.openxmlformats.org/officeDocument/2006/relationships/diagramQuickStyle" Target="../diagrams/quickStyle18.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notesSlide" Target="../notesSlides/notesSlide26.xml"/><Relationship Id="rId9" Type="http://schemas.microsoft.com/office/2007/relationships/diagramDrawing" Target="../diagrams/drawing18.xml"/></Relationships>
</file>

<file path=ppt/slides/_rels/slide27.xml.rels>&#65279;<?xml version="1.0" encoding="utf-8"?><Relationships xmlns="http://schemas.openxmlformats.org/package/2006/relationships"><Relationship Type="http://schemas.openxmlformats.org/officeDocument/2006/relationships/image" Target="../media/image31.svg" Id="rId8" /><Relationship Type="http://schemas.openxmlformats.org/officeDocument/2006/relationships/notesSlide" Target="../notesSlides/notesSlide27.xml" Id="rId3" /><Relationship Type="http://schemas.openxmlformats.org/officeDocument/2006/relationships/image" Target="../media/image30.png" Id="rId7" /><Relationship Type="http://schemas.openxmlformats.org/officeDocument/2006/relationships/slideLayout" Target="../slideLayouts/slideLayout14.xml" Id="rId2" /><Relationship Type="http://schemas.openxmlformats.org/officeDocument/2006/relationships/tags" Target="../tags/tag39.xml" Id="rId1" /><Relationship Type="http://schemas.openxmlformats.org/officeDocument/2006/relationships/image" Target="../media/image29.svg" Id="rId6" /><Relationship Type="http://schemas.openxmlformats.org/officeDocument/2006/relationships/image" Target="../media/image28.png" Id="rId5" /></Relationships>
</file>

<file path=ppt/slides/_rels/slide29.xml.rels>&#65279;<?xml version="1.0" encoding="utf-8"?><Relationships xmlns="http://schemas.openxmlformats.org/package/2006/relationships"><Relationship Type="http://schemas.openxmlformats.org/officeDocument/2006/relationships/notesSlide" Target="../notesSlides/notesSlide29.xml" Id="rId3" /><Relationship Type="http://schemas.openxmlformats.org/officeDocument/2006/relationships/slideLayout" Target="../slideLayouts/slideLayout14.xml" Id="rId2" /><Relationship Type="http://schemas.openxmlformats.org/officeDocument/2006/relationships/tags" Target="../tags/tag41.xml" Id="rId1" /></Relationships>
</file>

<file path=ppt/slides/_rels/slide3.xml.rels>&#65279;<?xml version="1.0" encoding="utf-8"?><Relationships xmlns="http://schemas.openxmlformats.org/package/2006/relationships"><Relationship Type="http://schemas.openxmlformats.org/officeDocument/2006/relationships/image" Target="../media/image19.png" Id="rId8" /><Relationship Type="http://schemas.openxmlformats.org/officeDocument/2006/relationships/customXml" Target="../../customXml/item16.xml" Id="rId3" /><Relationship Type="http://schemas.openxmlformats.org/officeDocument/2006/relationships/customXml" Target="../../customXml/item15.xml" Id="rId2" /><Relationship Type="http://schemas.openxmlformats.org/officeDocument/2006/relationships/tags" Target="../tags/tag8.xml" Id="rId1" /><Relationship Type="http://schemas.openxmlformats.org/officeDocument/2006/relationships/notesSlide" Target="../notesSlides/notesSlide3.xml" Id="rId6" /><Relationship Type="http://schemas.openxmlformats.org/officeDocument/2006/relationships/slideLayout" Target="../slideLayouts/slideLayout9.xml" Id="rId5" /><Relationship Type="http://schemas.openxmlformats.org/officeDocument/2006/relationships/tags" Target="../tags/tag9.xml" Id="rId4" /></Relationships>
</file>

<file path=ppt/slides/_rels/slide31.xml.rels>&#65279;<?xml version="1.0" encoding="utf-8"?><Relationships xmlns="http://schemas.openxmlformats.org/package/2006/relationships"><Relationship Type="http://schemas.openxmlformats.org/officeDocument/2006/relationships/notesSlide" Target="../notesSlides/notesSlide31.xml" Id="rId3" /><Relationship Type="http://schemas.openxmlformats.org/officeDocument/2006/relationships/slideLayout" Target="../slideLayouts/slideLayout14.xml" Id="rId2" /><Relationship Type="http://schemas.openxmlformats.org/officeDocument/2006/relationships/tags" Target="../tags/tag43.xml" Id="rId1" /></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4.jpe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5.jpeg"/><Relationship Id="rId4" Type="http://schemas.openxmlformats.org/officeDocument/2006/relationships/notesSlide" Target="../notesSlides/notesSlide33.xml"/></Relationships>
</file>

<file path=ppt/slides/_rels/slide34.xml.rels>&#65279;<?xml version="1.0" encoding="utf-8"?><Relationships xmlns="http://schemas.openxmlformats.org/package/2006/relationships"><Relationship Type="http://schemas.openxmlformats.org/officeDocument/2006/relationships/slideLayout" Target="../slideLayouts/slideLayout16.xml" Id="rId3" /><Relationship Type="http://schemas.openxmlformats.org/officeDocument/2006/relationships/customXml" Target="../../customXml/item19.xml" Id="rId2" /><Relationship Type="http://schemas.openxmlformats.org/officeDocument/2006/relationships/tags" Target="../tags/tag48.xml" Id="rId1" /><Relationship Type="http://schemas.openxmlformats.org/officeDocument/2006/relationships/notesSlide" Target="../notesSlides/notesSlide34.xml" Id="rId4" /></Relationships>
</file>

<file path=ppt/slides/_rels/slide35.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35.xml"/><Relationship Id="rId7" Type="http://schemas.openxmlformats.org/officeDocument/2006/relationships/diagramColors" Target="../diagrams/colors19.xml"/><Relationship Id="rId2" Type="http://schemas.openxmlformats.org/officeDocument/2006/relationships/slideLayout" Target="../slideLayouts/slideLayout13.xml"/><Relationship Id="rId1" Type="http://schemas.openxmlformats.org/officeDocument/2006/relationships/tags" Target="../tags/tag49.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37.xml.rels>&#65279;<?xml version="1.0" encoding="utf-8"?><Relationships xmlns="http://schemas.openxmlformats.org/package/2006/relationships"><Relationship Type="http://schemas.openxmlformats.org/officeDocument/2006/relationships/diagramColors" Target="../diagrams/colors21.xml" Id="rId8" /><Relationship Type="http://schemas.openxmlformats.org/officeDocument/2006/relationships/notesSlide" Target="../notesSlides/notesSlide37.xml" Id="rId3" /><Relationship Type="http://schemas.openxmlformats.org/officeDocument/2006/relationships/diagramQuickStyle" Target="../diagrams/quickStyle21.xml" Id="rId7" /><Relationship Type="http://schemas.openxmlformats.org/officeDocument/2006/relationships/slideLayout" Target="../slideLayouts/slideLayout15.xml" Id="rId2" /><Relationship Type="http://schemas.openxmlformats.org/officeDocument/2006/relationships/tags" Target="../tags/tag51.xml" Id="rId1" /><Relationship Type="http://schemas.openxmlformats.org/officeDocument/2006/relationships/diagramLayout" Target="../diagrams/layout21.xml" Id="rId6" /><Relationship Type="http://schemas.openxmlformats.org/officeDocument/2006/relationships/diagramData" Target="../diagrams/data21.xml" Id="rId5" /><Relationship Type="http://schemas.microsoft.com/office/2007/relationships/diagramDrawing" Target="../diagrams/drawing21.xml" Id="rId9" /></Relationships>
</file>

<file path=ppt/slides/_rels/slide38.xml.rels>&#65279;<?xml version="1.0" encoding="utf-8"?><Relationships xmlns="http://schemas.openxmlformats.org/package/2006/relationships"><Relationship Type="http://schemas.openxmlformats.org/officeDocument/2006/relationships/diagramColors" Target="../diagrams/colors22.xml" Id="rId8" /><Relationship Type="http://schemas.openxmlformats.org/officeDocument/2006/relationships/notesSlide" Target="../notesSlides/notesSlide38.xml" Id="rId3" /><Relationship Type="http://schemas.openxmlformats.org/officeDocument/2006/relationships/diagramQuickStyle" Target="../diagrams/quickStyle22.xml" Id="rId7" /><Relationship Type="http://schemas.openxmlformats.org/officeDocument/2006/relationships/slideLayout" Target="../slideLayouts/slideLayout9.xml" Id="rId2" /><Relationship Type="http://schemas.openxmlformats.org/officeDocument/2006/relationships/tags" Target="../tags/tag52.xml" Id="rId1" /><Relationship Type="http://schemas.openxmlformats.org/officeDocument/2006/relationships/diagramLayout" Target="../diagrams/layout22.xml" Id="rId6" /><Relationship Type="http://schemas.openxmlformats.org/officeDocument/2006/relationships/diagramData" Target="../diagrams/data22.xml" Id="rId5" /><Relationship Type="http://schemas.microsoft.com/office/2007/relationships/diagramDrawing" Target="../diagrams/drawing22.xml" Id="rId9" /></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4.jpeg"/><Relationship Id="rId4" Type="http://schemas.openxmlformats.org/officeDocument/2006/relationships/notesSlide" Target="../notesSlides/notesSlide39.xml"/></Relationships>
</file>

<file path=ppt/slides/_rels/slide4.xml.rels>&#65279;<?xml version="1.0" encoding="utf-8"?><Relationships xmlns="http://schemas.openxmlformats.org/package/2006/relationships"><Relationship Type="http://schemas.openxmlformats.org/officeDocument/2006/relationships/slideLayout" Target="../slideLayouts/slideLayout16.xml" Id="rId3" /><Relationship Type="http://schemas.openxmlformats.org/officeDocument/2006/relationships/customXml" Target="../../customXml/item17.xml" Id="rId2" /><Relationship Type="http://schemas.openxmlformats.org/officeDocument/2006/relationships/tags" Target="../tags/tag10.xml" Id="rId1" /><Relationship Type="http://schemas.openxmlformats.org/officeDocument/2006/relationships/notesSlide" Target="../notesSlides/notesSlide4.xml" Id="rId4" /></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5.jpe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20.xml"/><Relationship Id="rId1" Type="http://schemas.openxmlformats.org/officeDocument/2006/relationships/tags" Target="../tags/tag57.xml"/><Relationship Id="rId4" Type="http://schemas.openxmlformats.org/officeDocument/2006/relationships/notesSlide" Target="../notesSlides/notesSlide41.xml"/></Relationships>
</file>

<file path=ppt/slides/_rels/slide42.xml.rels>&#65279;<?xml version="1.0" encoding="utf-8"?><Relationships xmlns="http://schemas.openxmlformats.org/package/2006/relationships"><Relationship Type="http://schemas.openxmlformats.org/officeDocument/2006/relationships/diagramColors" Target="../diagrams/colors23.xml" Id="rId8" /><Relationship Type="http://schemas.openxmlformats.org/officeDocument/2006/relationships/notesSlide" Target="../notesSlides/notesSlide42.xml" Id="rId3" /><Relationship Type="http://schemas.openxmlformats.org/officeDocument/2006/relationships/diagramQuickStyle" Target="../diagrams/quickStyle23.xml" Id="rId7" /><Relationship Type="http://schemas.openxmlformats.org/officeDocument/2006/relationships/slideLayout" Target="../slideLayouts/slideLayout10.xml" Id="rId2" /><Relationship Type="http://schemas.openxmlformats.org/officeDocument/2006/relationships/tags" Target="../tags/tag58.xml" Id="rId1" /><Relationship Type="http://schemas.openxmlformats.org/officeDocument/2006/relationships/diagramLayout" Target="../diagrams/layout23.xml" Id="rId6" /><Relationship Type="http://schemas.openxmlformats.org/officeDocument/2006/relationships/diagramData" Target="../diagrams/data23.xml" Id="rId5" /><Relationship Type="http://schemas.microsoft.com/office/2007/relationships/diagramDrawing" Target="../diagrams/drawing23.xml" Id="rId9" /></Relationships>
</file>

<file path=ppt/slides/_rels/slide44.xml.rels>&#65279;<?xml version="1.0" encoding="utf-8"?><Relationships xmlns="http://schemas.openxmlformats.org/package/2006/relationships"><Relationship Type="http://schemas.openxmlformats.org/officeDocument/2006/relationships/diagramColors" Target="../diagrams/colors25.xml" Id="rId8" /><Relationship Type="http://schemas.openxmlformats.org/officeDocument/2006/relationships/notesSlide" Target="../notesSlides/notesSlide44.xml" Id="rId3" /><Relationship Type="http://schemas.openxmlformats.org/officeDocument/2006/relationships/diagramQuickStyle" Target="../diagrams/quickStyle25.xml" Id="rId7" /><Relationship Type="http://schemas.openxmlformats.org/officeDocument/2006/relationships/slideLayout" Target="../slideLayouts/slideLayout10.xml" Id="rId2" /><Relationship Type="http://schemas.openxmlformats.org/officeDocument/2006/relationships/tags" Target="../tags/tag60.xml" Id="rId1" /><Relationship Type="http://schemas.openxmlformats.org/officeDocument/2006/relationships/diagramLayout" Target="../diagrams/layout25.xml" Id="rId6" /><Relationship Type="http://schemas.openxmlformats.org/officeDocument/2006/relationships/diagramData" Target="../diagrams/data25.xml" Id="rId5" /><Relationship Type="http://schemas.microsoft.com/office/2007/relationships/diagramDrawing" Target="../diagrams/drawing25.xml" Id="rId9" /></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4.jpeg"/><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21.xml"/><Relationship Id="rId1" Type="http://schemas.openxmlformats.org/officeDocument/2006/relationships/tags" Target="../tags/tag65.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microsoft.com/office/2007/relationships/diagramDrawing" Target="../diagrams/drawing26.xml"/><Relationship Id="rId3" Type="http://schemas.openxmlformats.org/officeDocument/2006/relationships/notesSlide" Target="../notesSlides/notesSlide48.xml"/><Relationship Id="rId7" Type="http://schemas.openxmlformats.org/officeDocument/2006/relationships/diagramColors" Target="../diagrams/colors26.xml"/><Relationship Id="rId2" Type="http://schemas.openxmlformats.org/officeDocument/2006/relationships/slideLayout" Target="../slideLayouts/slideLayout13.xml"/><Relationship Id="rId1" Type="http://schemas.openxmlformats.org/officeDocument/2006/relationships/tags" Target="../tags/tag66.xml"/><Relationship Id="rId6" Type="http://schemas.openxmlformats.org/officeDocument/2006/relationships/diagramQuickStyle" Target="../diagrams/quickStyle26.xml"/><Relationship Id="rId5" Type="http://schemas.openxmlformats.org/officeDocument/2006/relationships/diagramLayout" Target="../diagrams/layout26.xml"/><Relationship Id="rId4" Type="http://schemas.openxmlformats.org/officeDocument/2006/relationships/diagramData" Target="../diagrams/data26.xml"/></Relationships>
</file>

<file path=ppt/slides/_rels/slide5.xml.rels>&#65279;<?xml version="1.0" encoding="utf-8"?><Relationships xmlns="http://schemas.openxmlformats.org/package/2006/relationships"><Relationship Type="http://schemas.openxmlformats.org/officeDocument/2006/relationships/diagramColors" Target="../diagrams/colors1.xml" Id="rId8" /><Relationship Type="http://schemas.openxmlformats.org/officeDocument/2006/relationships/notesSlide" Target="../notesSlides/notesSlide5.xml" Id="rId3" /><Relationship Type="http://schemas.openxmlformats.org/officeDocument/2006/relationships/diagramQuickStyle" Target="../diagrams/quickStyle1.xml" Id="rId7" /><Relationship Type="http://schemas.openxmlformats.org/officeDocument/2006/relationships/slideLayout" Target="../slideLayouts/slideLayout8.xml" Id="rId2" /><Relationship Type="http://schemas.openxmlformats.org/officeDocument/2006/relationships/tags" Target="../tags/tag11.xml" Id="rId1" /><Relationship Type="http://schemas.openxmlformats.org/officeDocument/2006/relationships/diagramLayout" Target="../diagrams/layout1.xml" Id="rId6" /><Relationship Type="http://schemas.openxmlformats.org/officeDocument/2006/relationships/diagramData" Target="../diagrams/data1.xml" Id="rId5" /><Relationship Type="http://schemas.microsoft.com/office/2007/relationships/diagramDrawing" Target="../diagrams/drawing1.xml" Id="rId9" /></Relationships>
</file>

<file path=ppt/slides/_rels/slide50.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notesSlide" Target="../notesSlides/notesSlide50.xml"/><Relationship Id="rId7" Type="http://schemas.openxmlformats.org/officeDocument/2006/relationships/diagramColors" Target="../diagrams/colors28.xml"/><Relationship Id="rId2" Type="http://schemas.openxmlformats.org/officeDocument/2006/relationships/slideLayout" Target="../slideLayouts/slideLayout13.xml"/><Relationship Id="rId1" Type="http://schemas.openxmlformats.org/officeDocument/2006/relationships/tags" Target="../tags/tag68.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s>
</file>

<file path=ppt/slides/_rels/slide52.xml.rels>&#65279;<?xml version="1.0" encoding="utf-8"?><Relationships xmlns="http://schemas.openxmlformats.org/package/2006/relationships"><Relationship Type="http://schemas.openxmlformats.org/officeDocument/2006/relationships/diagramQuickStyle" Target="../diagrams/quickStyle30.xml" Id="rId8" /><Relationship Type="http://schemas.openxmlformats.org/officeDocument/2006/relationships/slideLayout" Target="../slideLayouts/slideLayout13.xml" Id="rId3" /><Relationship Type="http://schemas.openxmlformats.org/officeDocument/2006/relationships/diagramLayout" Target="../diagrams/layout30.xml" Id="rId7" /><Relationship Type="http://schemas.openxmlformats.org/officeDocument/2006/relationships/tags" Target="../tags/tag72.xml" Id="rId2" /><Relationship Type="http://schemas.openxmlformats.org/officeDocument/2006/relationships/tags" Target="../tags/tag71.xml" Id="rId1" /><Relationship Type="http://schemas.openxmlformats.org/officeDocument/2006/relationships/diagramData" Target="../diagrams/data30.xml" Id="rId6" /><Relationship Type="http://schemas.microsoft.com/office/2007/relationships/diagramDrawing" Target="../diagrams/drawing30.xml" Id="rId10" /><Relationship Type="http://schemas.openxmlformats.org/officeDocument/2006/relationships/notesSlide" Target="../notesSlides/notesSlide52.xml" Id="rId4" /><Relationship Type="http://schemas.openxmlformats.org/officeDocument/2006/relationships/diagramColors" Target="../diagrams/colors30.xml" Id="rId9" /></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5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8.xml"/><Relationship Id="rId1" Type="http://schemas.openxmlformats.org/officeDocument/2006/relationships/tags" Target="../tags/tag77.xml"/><Relationship Id="rId4" Type="http://schemas.openxmlformats.org/officeDocument/2006/relationships/notesSlide" Target="../notesSlides/notesSlide55.xml"/></Relationships>
</file>

<file path=ppt/slides/_rels/slide57.xml.rels>&#65279;<?xml version="1.0" encoding="utf-8"?><Relationships xmlns="http://schemas.openxmlformats.org/package/2006/relationships"><Relationship Type="http://schemas.openxmlformats.org/officeDocument/2006/relationships/notesSlide" Target="../notesSlides/notesSlide57.xml" Id="rId3" /><Relationship Type="http://schemas.openxmlformats.org/officeDocument/2006/relationships/slideLayout" Target="../slideLayouts/slideLayout8.xml" Id="rId2" /><Relationship Type="http://schemas.openxmlformats.org/officeDocument/2006/relationships/tags" Target="../tags/tag81.xml" Id="rId1" /></Relationships>
</file>

<file path=ppt/slides/_rels/slide59.xml.rels>&#65279;<?xml version="1.0" encoding="utf-8"?><Relationships xmlns="http://schemas.openxmlformats.org/package/2006/relationships"><Relationship Type="http://schemas.openxmlformats.org/officeDocument/2006/relationships/diagramColors" Target="../diagrams/colors32.xml" Id="rId8" /><Relationship Type="http://schemas.openxmlformats.org/officeDocument/2006/relationships/diagramColors" Target="../diagrams/colors33.xml" Id="rId13" /><Relationship Type="http://schemas.openxmlformats.org/officeDocument/2006/relationships/notesSlide" Target="../notesSlides/notesSlide59.xml" Id="rId3" /><Relationship Type="http://schemas.openxmlformats.org/officeDocument/2006/relationships/diagramQuickStyle" Target="../diagrams/quickStyle32.xml" Id="rId7" /><Relationship Type="http://schemas.openxmlformats.org/officeDocument/2006/relationships/diagramQuickStyle" Target="../diagrams/quickStyle33.xml" Id="rId12" /><Relationship Type="http://schemas.openxmlformats.org/officeDocument/2006/relationships/slideLayout" Target="../slideLayouts/slideLayout14.xml" Id="rId2" /><Relationship Type="http://schemas.openxmlformats.org/officeDocument/2006/relationships/image" Target="../media/image60.png" Id="rId16" /><Relationship Type="http://schemas.openxmlformats.org/officeDocument/2006/relationships/tags" Target="../tags/tag83.xml" Id="rId1" /><Relationship Type="http://schemas.openxmlformats.org/officeDocument/2006/relationships/diagramLayout" Target="../diagrams/layout32.xml" Id="rId6" /><Relationship Type="http://schemas.openxmlformats.org/officeDocument/2006/relationships/diagramLayout" Target="../diagrams/layout33.xml" Id="rId11" /><Relationship Type="http://schemas.openxmlformats.org/officeDocument/2006/relationships/diagramData" Target="../diagrams/data32.xml" Id="rId5" /><Relationship Type="http://schemas.openxmlformats.org/officeDocument/2006/relationships/image" Target="../media/image59.png" Id="rId15" /><Relationship Type="http://schemas.openxmlformats.org/officeDocument/2006/relationships/diagramData" Target="../diagrams/data33.xml" Id="rId10" /><Relationship Type="http://schemas.microsoft.com/office/2007/relationships/diagramDrawing" Target="../diagrams/drawing32.xml" Id="rId9" /><Relationship Type="http://schemas.microsoft.com/office/2007/relationships/diagramDrawing" Target="../diagrams/drawing33.xml" Id="rId14" /></Relationships>
</file>

<file path=ppt/slides/_rels/slide6.xml.rels>&#65279;<?xml version="1.0" encoding="utf-8"?><Relationships xmlns="http://schemas.openxmlformats.org/package/2006/relationships"><Relationship Type="http://schemas.openxmlformats.org/officeDocument/2006/relationships/image" Target="../media/image23.svg" Id="rId8" /><Relationship Type="http://schemas.openxmlformats.org/officeDocument/2006/relationships/notesSlide" Target="../notesSlides/notesSlide6.xml" Id="rId3" /><Relationship Type="http://schemas.openxmlformats.org/officeDocument/2006/relationships/image" Target="../media/image22.png" Id="rId7" /><Relationship Type="http://schemas.openxmlformats.org/officeDocument/2006/relationships/slideLayout" Target="../slideLayouts/slideLayout14.xml" Id="rId2" /><Relationship Type="http://schemas.openxmlformats.org/officeDocument/2006/relationships/tags" Target="../tags/tag12.xml" Id="rId1" /><Relationship Type="http://schemas.openxmlformats.org/officeDocument/2006/relationships/image" Target="../media/image21.svg" Id="rId6" /><Relationship Type="http://schemas.openxmlformats.org/officeDocument/2006/relationships/image" Target="../media/image20.png" Id="rId5" /></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4.jpeg"/><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5.jpeg"/><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61.png"/><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3.xml"/><Relationship Id="rId1" Type="http://schemas.openxmlformats.org/officeDocument/2006/relationships/tags" Target="../tags/tag91.xml"/></Relationships>
</file>

<file path=ppt/slides/_rels/slide7.xml.rels>&#65279;<?xml version="1.0" encoding="utf-8"?><Relationships xmlns="http://schemas.openxmlformats.org/package/2006/relationships"><Relationship Type="http://schemas.openxmlformats.org/officeDocument/2006/relationships/slideLayout" Target="../slideLayouts/slideLayout14.xml" Id="rId3" /><Relationship Type="http://schemas.openxmlformats.org/officeDocument/2006/relationships/tags" Target="../tags/tag14.xml" Id="rId2" /><Relationship Type="http://schemas.openxmlformats.org/officeDocument/2006/relationships/tags" Target="../tags/tag13.xml" Id="rId1" /><Relationship Type="http://schemas.openxmlformats.org/officeDocument/2006/relationships/notesSlide" Target="../notesSlides/notesSlide7.xml" Id="rId4" /></Relationships>
</file>

<file path=ppt/slides/_rels/slide8.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16.xml" Id="rId2" /><Relationship Type="http://schemas.openxmlformats.org/officeDocument/2006/relationships/tags" Target="../tags/tag15.xml" Id="rId1" /><Relationship Type="http://schemas.openxmlformats.org/officeDocument/2006/relationships/image" Target="../media/image24.jpeg" Id="rId6" /><Relationship Type="http://schemas.openxmlformats.org/officeDocument/2006/relationships/notesSlide" Target="../notesSlides/notesSlide8.xml" Id="rId4" /></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5.jpeg"/><Relationship Id="rId4" Type="http://schemas.openxmlformats.org/officeDocument/2006/relationships/notesSlide" Target="../notesSlides/notesSlide9.xml"/></Relationships>
</file>

<file path=ppt/slides/slide1.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a:latin typeface="Segoe UI Semibold" panose="020B0702040204020203" pitchFamily="34" charset="0"/>
              </a:rPr>
              <a:t>Error Handling</a:t>
            </a:r>
          </a:p>
        </p:txBody>
      </p:sp>
      <p:sp>
        <p:nvSpPr>
          <p:cNvPr id="4" name="Subtitle 3">
            <a:extLst>
              <a:ext uri="{FF2B5EF4-FFF2-40B4-BE49-F238E27FC236}">
                <a16:creationId xmlns:a16="http://schemas.microsoft.com/office/drawing/2014/main" id="{EDABADB0-A6C2-4E4F-9795-29AD2AD25584}"/>
              </a:ext>
            </a:extLst>
          </p:cNvPr>
          <p:cNvSpPr>
            <a:spLocks noGrp="1"/>
          </p:cNvSpPr>
          <p:nvPr>
            <p:ph type="subTitle" idx="1"/>
          </p:nvPr>
        </p:nvSpPr>
        <p:spPr/>
        <p:txBody>
          <a:bodyPr>
            <a:normAutofit lnSpcReduction="10000"/>
          </a:bodyPr>
          <a:lstStyle/>
          <a:p>
            <a:r>
              <a:rPr lang="en-US"/>
              <a:t>Module 5</a:t>
            </a:r>
          </a:p>
        </p:txBody>
      </p:sp>
    </p:spTree>
    <p:custDataLst>
      <p:tags r:id="rId1"/>
    </p:custDataLst>
    <p:extLst>
      <p:ext uri="{BB962C8B-B14F-4D97-AF65-F5344CB8AC3E}">
        <p14:creationId xmlns:p14="http://schemas.microsoft.com/office/powerpoint/2010/main" val="1023321655"/>
      </p:ext>
    </p:extLst>
  </p:cSld>
  <p:clrMapOvr>
    <a:masterClrMapping/>
  </p:clrMapOvr>
  <p:transition spd="slow"/>
  <p:extLst>
    <p:ext uri="{6950BFC3-D8DA-4A85-94F7-54DA5524770B}">
      <p188:commentRel xmlns:p188="http://schemas.microsoft.com/office/powerpoint/2018/8/main" r:id="rId5"/>
    </p:ext>
  </p:extLst>
</p:sld>
</file>

<file path=ppt/slides/slide10.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name="HIDDEN - Slide9">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Introduction to Error Handling</a:t>
            </a:r>
          </a:p>
        </p:txBody>
      </p:sp>
    </p:spTree>
    <p:custDataLst>
      <p:tags r:id="rId1"/>
    </p:custDataLst>
    <p:extLst>
      <p:ext uri="{BB962C8B-B14F-4D97-AF65-F5344CB8AC3E}">
        <p14:creationId xmlns:p14="http://schemas.microsoft.com/office/powerpoint/2010/main" val="133639982"/>
      </p:ext>
    </p:extLst>
  </p:cSld>
  <p:clrMapOvr>
    <a:masterClrMapping/>
  </p:clrMapOvr>
  <p:transition spd="slow"/>
  <p:extLst>
    <p:ext uri="{6950BFC3-D8DA-4A85-94F7-54DA5524770B}">
      <p188:commentRel xmlns:p188="http://schemas.microsoft.com/office/powerpoint/2018/8/main" r:id="rId5"/>
    </p:ext>
  </p:extLst>
</p:sld>
</file>

<file path=ppt/slides/slide11.xml><?xml version="1.0" encoding="utf-8"?>
<p:sld xmlns:a16="http://schemas.microsoft.com/office/drawing/2014/main" xmlns:dgm="http://schemas.openxmlformats.org/drawingml/2006/diagram"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aling With Errors</a:t>
            </a:r>
          </a:p>
        </p:txBody>
      </p:sp>
      <p:sp>
        <p:nvSpPr>
          <p:cNvPr id="6" name="Oval 5">
            <a:extLst>
              <a:ext uri="{FF2B5EF4-FFF2-40B4-BE49-F238E27FC236}">
                <a16:creationId xmlns:a16="http://schemas.microsoft.com/office/drawing/2014/main" id="{5AB369B3-4BB7-473C-96C7-4084A3A3D6E8}"/>
              </a:ext>
            </a:extLst>
          </p:cNvPr>
          <p:cNvSpPr/>
          <p:nvPr/>
        </p:nvSpPr>
        <p:spPr bwMode="auto">
          <a:xfrm>
            <a:off x="655638" y="1003696"/>
            <a:ext cx="3078163" cy="2946400"/>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Nothing</a:t>
            </a:r>
          </a:p>
        </p:txBody>
      </p:sp>
      <p:sp>
        <p:nvSpPr>
          <p:cNvPr id="12" name="Oval 11">
            <a:extLst>
              <a:ext uri="{FF2B5EF4-FFF2-40B4-BE49-F238E27FC236}">
                <a16:creationId xmlns:a16="http://schemas.microsoft.com/office/drawing/2014/main" id="{787E219C-D0CC-479F-ACFC-845BD7297DC9}"/>
              </a:ext>
            </a:extLst>
          </p:cNvPr>
          <p:cNvSpPr/>
          <p:nvPr/>
        </p:nvSpPr>
        <p:spPr bwMode="auto">
          <a:xfrm>
            <a:off x="4544886" y="1003696"/>
            <a:ext cx="3078163" cy="2946400"/>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Debug The Code</a:t>
            </a:r>
          </a:p>
        </p:txBody>
      </p:sp>
      <p:sp>
        <p:nvSpPr>
          <p:cNvPr id="14" name="Oval 13">
            <a:extLst>
              <a:ext uri="{FF2B5EF4-FFF2-40B4-BE49-F238E27FC236}">
                <a16:creationId xmlns:a16="http://schemas.microsoft.com/office/drawing/2014/main" id="{C53A5CCE-28DC-4161-833B-A0C97956700C}"/>
              </a:ext>
            </a:extLst>
          </p:cNvPr>
          <p:cNvSpPr/>
          <p:nvPr/>
        </p:nvSpPr>
        <p:spPr bwMode="auto">
          <a:xfrm>
            <a:off x="8434135" y="993001"/>
            <a:ext cx="3078163" cy="2946400"/>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a:gradFill>
                  <a:gsLst>
                    <a:gs pos="0">
                      <a:srgbClr val="FFFFFF"/>
                    </a:gs>
                    <a:gs pos="100000">
                      <a:srgbClr val="FFFFFF"/>
                    </a:gs>
                  </a:gsLst>
                  <a:lin ang="5400000" scaled="0"/>
                </a:gradFill>
                <a:ea typeface="Segoe UI" pitchFamily="34" charset="0"/>
                <a:cs typeface="Segoe UI" pitchFamily="34" charset="0"/>
              </a:rPr>
              <a:t>Use Error Handling Code</a:t>
            </a:r>
          </a:p>
        </p:txBody>
      </p:sp>
      <p:graphicFrame>
        <p:nvGraphicFramePr>
          <p:cNvPr id="7" name="Diagram 6">
            <a:extLst>
              <a:ext uri="{FF2B5EF4-FFF2-40B4-BE49-F238E27FC236}">
                <a16:creationId xmlns:a16="http://schemas.microsoft.com/office/drawing/2014/main" id="{D16104A5-C3AB-4BB9-8F81-5E4616355C2D}"/>
              </a:ext>
            </a:extLst>
          </p:cNvPr>
          <p:cNvGraphicFramePr/>
          <p:nvPr/>
        </p:nvGraphicFramePr>
        <p:xfrm>
          <a:off x="708818" y="4170758"/>
          <a:ext cx="3329781" cy="253484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Diagram 7">
            <a:extLst>
              <a:ext uri="{FF2B5EF4-FFF2-40B4-BE49-F238E27FC236}">
                <a16:creationId xmlns:a16="http://schemas.microsoft.com/office/drawing/2014/main" id="{42921541-FBBD-4AD6-BCBC-1F2515D07A4D}"/>
              </a:ext>
            </a:extLst>
          </p:cNvPr>
          <p:cNvGraphicFramePr/>
          <p:nvPr/>
        </p:nvGraphicFramePr>
        <p:xfrm>
          <a:off x="4544886" y="4170758"/>
          <a:ext cx="3329781" cy="2534842"/>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9" name="Diagram 8">
            <a:extLst>
              <a:ext uri="{FF2B5EF4-FFF2-40B4-BE49-F238E27FC236}">
                <a16:creationId xmlns:a16="http://schemas.microsoft.com/office/drawing/2014/main" id="{7A8E2527-7DCB-479B-A512-6245DC60DD5C}"/>
              </a:ext>
            </a:extLst>
          </p:cNvPr>
          <p:cNvGraphicFramePr/>
          <p:nvPr/>
        </p:nvGraphicFramePr>
        <p:xfrm>
          <a:off x="8405016" y="4170758"/>
          <a:ext cx="3329781" cy="2534842"/>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custDataLst>
      <p:tags r:id="rId1"/>
    </p:custDataLst>
    <p:extLst>
      <p:ext uri="{BB962C8B-B14F-4D97-AF65-F5344CB8AC3E}">
        <p14:creationId xmlns:p14="http://schemas.microsoft.com/office/powerpoint/2010/main" val="81635580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Graphic spid="8" grpId="0">
        <p:bldAsOne/>
      </p:bldGraphic>
      <p:bldGraphic spid="9" grpId="0">
        <p:bldAsOne/>
      </p:bldGraphic>
    </p:bldLst>
  </p:timing>
  <p:extLst>
    <p:ext uri="{6950BFC3-D8DA-4A85-94F7-54DA5524770B}">
      <p188:commentRel xmlns:p188="http://schemas.microsoft.com/office/powerpoint/2018/8/main" r:id="rId4"/>
    </p:ext>
  </p:extLst>
</p:sld>
</file>

<file path=ppt/slides/slide12.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rrors In PowerShell</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2438514227"/>
              </p:ext>
            </p:extLst>
          </p:nvPr>
        </p:nvGraphicFramePr>
        <p:xfrm>
          <a:off x="655638" y="914400"/>
          <a:ext cx="10880725" cy="56235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941779801"/>
      </p:ext>
    </p:extLst>
  </p:cSld>
  <p:clrMapOvr>
    <a:masterClrMapping/>
  </p:clrMapOvr>
  <p:transition spd="slow"/>
  <p:extLst>
    <p:ext uri="{6950BFC3-D8DA-4A85-94F7-54DA5524770B}">
      <p188:commentRel xmlns:p188="http://schemas.microsoft.com/office/powerpoint/2018/8/main" r:id="rId4"/>
    </p:ext>
  </p:extLst>
</p:sld>
</file>

<file path=ppt/slides/slide14.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rrors In PowerShell</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3754716150"/>
              </p:ext>
            </p:extLst>
          </p:nvPr>
        </p:nvGraphicFramePr>
        <p:xfrm>
          <a:off x="640080" y="914400"/>
          <a:ext cx="50292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7" name="Content Placeholder 2">
            <a:extLst>
              <a:ext uri="{FF2B5EF4-FFF2-40B4-BE49-F238E27FC236}">
                <a16:creationId xmlns:a16="http://schemas.microsoft.com/office/drawing/2014/main" id="{5768BE25-8529-4798-9A30-A3247E63EE2E}"/>
              </a:ext>
            </a:extLst>
          </p:cNvPr>
          <p:cNvGraphicFramePr>
            <a:graphicFrameLocks/>
          </p:cNvGraphicFramePr>
          <p:nvPr>
            <p:extLst>
              <p:ext uri="{D42A27DB-BD31-4B8C-83A1-F6EECF244321}">
                <p14:modId xmlns:p14="http://schemas.microsoft.com/office/powerpoint/2010/main" val="3407212378"/>
              </p:ext>
            </p:extLst>
          </p:nvPr>
        </p:nvGraphicFramePr>
        <p:xfrm>
          <a:off x="6492240" y="914400"/>
          <a:ext cx="5486400" cy="54864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8" name="Left Brace 17">
            <a:extLst>
              <a:ext uri="{FF2B5EF4-FFF2-40B4-BE49-F238E27FC236}">
                <a16:creationId xmlns:a16="http://schemas.microsoft.com/office/drawing/2014/main" id="{DB5356C5-3DD1-466E-B1C5-B0A1195C117A}"/>
              </a:ext>
            </a:extLst>
          </p:cNvPr>
          <p:cNvSpPr/>
          <p:nvPr/>
        </p:nvSpPr>
        <p:spPr>
          <a:xfrm>
            <a:off x="5669280" y="1645920"/>
            <a:ext cx="731520" cy="4023360"/>
          </a:xfrm>
          <a:prstGeom prst="leftBrace">
            <a:avLst>
              <a:gd name="adj1" fmla="val 8333"/>
              <a:gd name="adj2" fmla="val 64905"/>
            </a:avLst>
          </a:prstGeom>
          <a:ln w="381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892225085"/>
      </p:ext>
    </p:extLst>
  </p:cSld>
  <p:clrMapOvr>
    <a:masterClrMapping/>
  </p:clrMapOvr>
  <p:transition spd="slow"/>
  <p:extLst>
    <p:ext uri="{6950BFC3-D8DA-4A85-94F7-54DA5524770B}">
      <p188:commentRel xmlns:p188="http://schemas.microsoft.com/office/powerpoint/2018/8/main" r:id="rId4"/>
    </p:ext>
  </p:extLst>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Left Brace 6">
            <a:extLst>
              <a:ext uri="{FF2B5EF4-FFF2-40B4-BE49-F238E27FC236}">
                <a16:creationId xmlns:a16="http://schemas.microsoft.com/office/drawing/2014/main" id="{A9912A70-01BE-4C0D-8147-7F3FB2D91550}"/>
              </a:ext>
            </a:extLst>
          </p:cNvPr>
          <p:cNvSpPr/>
          <p:nvPr/>
        </p:nvSpPr>
        <p:spPr>
          <a:xfrm>
            <a:off x="5562454" y="1118795"/>
            <a:ext cx="517988" cy="1364409"/>
          </a:xfrm>
          <a:prstGeom prst="leftBrace">
            <a:avLst>
              <a:gd name="adj1" fmla="val 8333"/>
              <a:gd name="adj2" fmla="val 47076"/>
            </a:avLst>
          </a:prstGeom>
          <a:ln w="381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a:xfrm>
            <a:off x="640080" y="354105"/>
            <a:ext cx="10880725" cy="461665"/>
          </a:xfrm>
        </p:spPr>
        <p:txBody>
          <a:bodyPr/>
          <a:lstStyle/>
          <a:p>
            <a:r>
              <a:rPr lang="en-US"/>
              <a:t>Errors In PowerShell</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3190691721"/>
              </p:ext>
            </p:extLst>
          </p:nvPr>
        </p:nvGraphicFramePr>
        <p:xfrm>
          <a:off x="640080" y="914400"/>
          <a:ext cx="50292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1AF61723-5420-4861-8D3E-C4C939A071A4}"/>
              </a:ext>
            </a:extLst>
          </p:cNvPr>
          <p:cNvGraphicFramePr/>
          <p:nvPr>
            <p:extLst>
              <p:ext uri="{D42A27DB-BD31-4B8C-83A1-F6EECF244321}">
                <p14:modId xmlns:p14="http://schemas.microsoft.com/office/powerpoint/2010/main" val="3140228142"/>
              </p:ext>
            </p:extLst>
          </p:nvPr>
        </p:nvGraphicFramePr>
        <p:xfrm>
          <a:off x="6051348" y="354105"/>
          <a:ext cx="5958348" cy="597274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1571694054"/>
      </p:ext>
    </p:extLst>
  </p:cSld>
  <p:clrMapOvr>
    <a:masterClrMapping/>
  </p:clrMapOvr>
  <p:transition spd="slow"/>
</p:sld>
</file>

<file path=ppt/slides/slide1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Introduction to Errors</a:t>
            </a:r>
          </a:p>
        </p:txBody>
      </p:sp>
      <p:pic>
        <p:nvPicPr>
          <p:cNvPr id="5" name="Demo 01" descr="A person standing in front of a screen.">
            <a:extLst>
              <a:ext uri="{FF2B5EF4-FFF2-40B4-BE49-F238E27FC236}">
                <a16:creationId xmlns:a16="http://schemas.microsoft.com/office/drawing/2014/main" id="{88694DD0-5ED7-4D9A-90CB-D92461780C6E}"/>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005034270"/>
      </p:ext>
    </p:extLst>
  </p:cSld>
  <p:clrMapOvr>
    <a:masterClrMapping/>
  </p:clrMapOvr>
  <p:transition spd="slow"/>
</p:sld>
</file>

<file path=ppt/slides/slide1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196758494"/>
      </p:ext>
    </p:extLst>
  </p:cSld>
  <p:clrMapOvr>
    <a:masterClrMapping/>
  </p:clrMapOvr>
  <p:transition spd="slow"/>
</p:sld>
</file>

<file path=ppt/slides/slide19.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n-Terminating Errors</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2461461878"/>
              </p:ext>
            </p:extLst>
          </p:nvPr>
        </p:nvGraphicFramePr>
        <p:xfrm>
          <a:off x="567992" y="971088"/>
          <a:ext cx="11185525" cy="303052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Rectangle 3">
            <a:extLst>
              <a:ext uri="{FF2B5EF4-FFF2-40B4-BE49-F238E27FC236}">
                <a16:creationId xmlns:a16="http://schemas.microsoft.com/office/drawing/2014/main" id="{DFD1CF80-9BAF-4FBF-A0E3-E13C2FD73DA0}"/>
              </a:ext>
            </a:extLst>
          </p:cNvPr>
          <p:cNvSpPr/>
          <p:nvPr/>
        </p:nvSpPr>
        <p:spPr>
          <a:xfrm>
            <a:off x="562205" y="4023132"/>
            <a:ext cx="11179738" cy="2633479"/>
          </a:xfrm>
          <a:prstGeom prst="rect">
            <a:avLst/>
          </a:prstGeom>
          <a:solidFill>
            <a:srgbClr val="012456"/>
          </a:solidFill>
        </p:spPr>
        <p:txBody>
          <a:bodyPr wrap="square">
            <a:noAutofit/>
          </a:bodyPr>
          <a:lstStyle/>
          <a:p>
            <a:r>
              <a:rPr lang="en-US">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Get-Proces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Name</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amdfendrsr</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NotExist</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ZoomIt</a:t>
            </a:r>
            <a:endParaRPr lang="en-US" sz="1800">
              <a:solidFill>
                <a:srgbClr val="EE82EE"/>
              </a:solidFill>
              <a:latin typeface="Lucida Console" panose="020B0609040504020204" pitchFamily="49" charset="0"/>
            </a:endParaRPr>
          </a:p>
          <a:p>
            <a:r>
              <a:rPr lang="en-US">
                <a:solidFill>
                  <a:srgbClr val="FF9494"/>
                </a:solidFill>
                <a:latin typeface="Lucida Console" panose="020B0609040504020204" pitchFamily="49" charset="0"/>
              </a:rPr>
              <a:t>Get-Process : Cannot find a process with the name "NotExist.exe". Verify the process name and call the cmdlet again.</a:t>
            </a:r>
          </a:p>
          <a:p>
            <a:r>
              <a:rPr lang="en-US">
                <a:solidFill>
                  <a:srgbClr val="FF9494"/>
                </a:solidFill>
                <a:latin typeface="Lucida Console" panose="020B0609040504020204" pitchFamily="49" charset="0"/>
              </a:rPr>
              <a:t>At line:1 char:1 </a:t>
            </a: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Handles  NPM(K)    PM(K)      WS(K)     CPU(s)     Id  SI </a:t>
            </a:r>
            <a:r>
              <a:rPr lang="en-US" err="1">
                <a:solidFill>
                  <a:srgbClr val="F5F5F5"/>
                </a:solidFill>
                <a:latin typeface="Lucida Console" panose="020B0609040504020204" pitchFamily="49" charset="0"/>
              </a:rPr>
              <a:t>ProcessName</a:t>
            </a:r>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  ------    -----      -----     ------     --  -- -----------                          </a:t>
            </a:r>
          </a:p>
          <a:p>
            <a:r>
              <a:rPr lang="en-US">
                <a:solidFill>
                  <a:srgbClr val="F5F5F5"/>
                </a:solidFill>
                <a:latin typeface="Lucida Console" panose="020B0609040504020204" pitchFamily="49" charset="0"/>
              </a:rPr>
              <a:t>    139       9     2384       2220              2672   0 </a:t>
            </a:r>
            <a:r>
              <a:rPr lang="en-US" err="1">
                <a:solidFill>
                  <a:srgbClr val="F5F5F5"/>
                </a:solidFill>
                <a:latin typeface="Lucida Console" panose="020B0609040504020204" pitchFamily="49" charset="0"/>
              </a:rPr>
              <a:t>amdfendrsr</a:t>
            </a:r>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    134      10     1332       7404       0.05  27656   7 </a:t>
            </a:r>
            <a:r>
              <a:rPr lang="en-US" err="1">
                <a:solidFill>
                  <a:srgbClr val="F5F5F5"/>
                </a:solidFill>
                <a:latin typeface="Lucida Console" panose="020B0609040504020204" pitchFamily="49" charset="0"/>
              </a:rPr>
              <a:t>ZoomIt</a:t>
            </a:r>
            <a:r>
              <a:rPr lang="en-US">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1456104248"/>
      </p:ext>
    </p:extLst>
  </p:cSld>
  <p:clrMapOvr>
    <a:masterClrMapping/>
  </p:clrMapOvr>
  <p:transition spd="slow"/>
  <p:extLst>
    <p:ext uri="{6950BFC3-D8DA-4A85-94F7-54DA5524770B}">
      <p188:commentRel xmlns:p188="http://schemas.microsoft.com/office/powerpoint/2018/8/main" r:id="rId4"/>
    </p:ext>
  </p:extLst>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a:noFill/>
              </a:rPr>
              <a:t>Disclaimer</a:t>
            </a:r>
          </a:p>
        </p:txBody>
      </p:sp>
    </p:spTree>
    <p:custDataLst>
      <p:tags r:id="rId1"/>
    </p:custDataLst>
    <p:extLst>
      <p:ext uri="{BB962C8B-B14F-4D97-AF65-F5344CB8AC3E}">
        <p14:creationId xmlns:p14="http://schemas.microsoft.com/office/powerpoint/2010/main" val="2554696811"/>
      </p:ext>
    </p:extLst>
  </p:cSld>
  <p:clrMapOvr>
    <a:masterClrMapping/>
  </p:clrMapOvr>
  <p:transition spd="slow"/>
</p:sld>
</file>

<file path=ppt/slides/slide20.xml><?xml version="1.0" encoding="utf-8"?>
<p:sld xmlns:adec="http://schemas.microsoft.com/office/drawing/2017/decorative"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utomatic Variables for Working with Errors</a:t>
            </a:r>
          </a:p>
        </p:txBody>
      </p:sp>
      <p:graphicFrame>
        <p:nvGraphicFramePr>
          <p:cNvPr id="5" name="Content Placeholder 4">
            <a:extLs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1514832700"/>
              </p:ext>
            </p:extLst>
          </p:nvPr>
        </p:nvGraphicFramePr>
        <p:xfrm>
          <a:off x="457200" y="1219200"/>
          <a:ext cx="10880725" cy="525436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5013514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D0513155-C6AE-4B82-A507-4D461D7D50E8}"/>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B4DEA63F-05B7-45BE-91F7-CE28E85B9B9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3411F7BB-25DA-4F74-97BC-E526AF7F1D38}"/>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73C54BED-6990-4E6A-8B6D-C8EA5E2ABDA7}"/>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0B95C38E-B2C1-4D2C-8A93-A9FC3FD1D6E0}"/>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3458A37C-CED6-4BDA-B227-6B14AFA2B20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extLst>
    <p:ext uri="{6950BFC3-D8DA-4A85-94F7-54DA5524770B}">
      <p188:commentRel xmlns:p188="http://schemas.microsoft.com/office/powerpoint/2018/8/main" r:id="rId4"/>
    </p:ext>
  </p:extLst>
</p:sld>
</file>

<file path=ppt/slides/slide21.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Segoe UI Semibold" panose="020B0702040204020203" pitchFamily="34" charset="0"/>
                <a:cs typeface="Segoe UI Light"/>
              </a:rPr>
              <a:t>Error Record Objects</a:t>
            </a:r>
          </a:p>
        </p:txBody>
      </p:sp>
      <p:sp>
        <p:nvSpPr>
          <p:cNvPr id="3" name="Content Placeholder 2"/>
          <p:cNvSpPr>
            <a:spLocks noGrp="1"/>
          </p:cNvSpPr>
          <p:nvPr>
            <p:ph sz="quarter" idx="13"/>
          </p:nvPr>
        </p:nvSpPr>
        <p:spPr>
          <a:xfrm>
            <a:off x="655637" y="907310"/>
            <a:ext cx="10880726" cy="843517"/>
          </a:xfrm>
        </p:spPr>
        <p:txBody>
          <a:bodyPr vert="horz" lIns="91440" tIns="45720" rIns="91440" bIns="45720" rtlCol="0" anchor="t">
            <a:noAutofit/>
          </a:bodyPr>
          <a:lstStyle/>
          <a:p>
            <a:r>
              <a:rPr lang="en-US" b="1">
                <a:latin typeface="Segoe UI" panose="020B0502040204020203" pitchFamily="34" charset="0"/>
                <a:cs typeface="Segoe UI Light"/>
              </a:rPr>
              <a:t>$Error </a:t>
            </a:r>
            <a:r>
              <a:rPr lang="en-US">
                <a:latin typeface="Segoe UI" panose="020B0502040204020203" pitchFamily="34" charset="0"/>
                <a:cs typeface="Segoe UI Light"/>
              </a:rPr>
              <a:t>contains all the errors from the current session</a:t>
            </a:r>
          </a:p>
          <a:p>
            <a:r>
              <a:rPr lang="en-US">
                <a:latin typeface="Segoe UI" panose="020B0502040204020203" pitchFamily="34" charset="0"/>
              </a:rPr>
              <a:t>View all property values of most recent error by either of the following:</a:t>
            </a:r>
          </a:p>
          <a:p>
            <a:endParaRPr lang="en-US">
              <a:latin typeface="Segoe UI" panose="020B0502040204020203" pitchFamily="34" charset="0"/>
            </a:endParaRPr>
          </a:p>
        </p:txBody>
      </p:sp>
      <p:sp>
        <p:nvSpPr>
          <p:cNvPr id="6" name="Rectangle 5"/>
          <p:cNvSpPr/>
          <p:nvPr/>
        </p:nvSpPr>
        <p:spPr>
          <a:xfrm>
            <a:off x="701677" y="3673218"/>
            <a:ext cx="10926763" cy="2308324"/>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MessageDetails</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Exception             : </a:t>
            </a: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System.Management.Automation.CommandNotFoundExcept</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err="1">
                <a:solidFill>
                  <a:srgbClr val="F5F5F5"/>
                </a:solidFill>
                <a:latin typeface="Lucida Console" panose="020B0609040504020204" pitchFamily="49" charset="0"/>
              </a:rPr>
              <a:t>TargetObject</a:t>
            </a:r>
            <a:r>
              <a:rPr lang="en-US">
                <a:solidFill>
                  <a:srgbClr val="F5F5F5"/>
                </a:solidFill>
                <a:latin typeface="Lucida Console" panose="020B0609040504020204" pitchFamily="49" charset="0"/>
              </a:rPr>
              <a:t>          : </a:t>
            </a:r>
            <a:r>
              <a:rPr lang="en-US" err="1">
                <a:solidFill>
                  <a:srgbClr val="F5F5F5"/>
                </a:solidFill>
                <a:latin typeface="Lucida Console" panose="020B0609040504020204" pitchFamily="49" charset="0"/>
              </a:rPr>
              <a:t>InvalidCmd</a:t>
            </a:r>
            <a:endParaRPr lang="en-US">
              <a:solidFill>
                <a:srgbClr val="F5F5F5"/>
              </a:solidFill>
              <a:latin typeface="Lucida Console" panose="020B060904050402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CategoryInfo          : </a:t>
            </a: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ObjectNotFound</a:t>
            </a:r>
            <a:r>
              <a:rPr lang="en-US">
                <a:solidFill>
                  <a:srgbClr val="F5F5F5"/>
                </a:solidFill>
                <a:latin typeface="Lucida Console" panose="020B0609040504020204" pitchFamily="49" charset="0"/>
              </a:rPr>
              <a:t>: (</a:t>
            </a:r>
            <a:r>
              <a:rPr lang="en-US" err="1">
                <a:solidFill>
                  <a:srgbClr val="F5F5F5"/>
                </a:solidFill>
                <a:latin typeface="Lucida Console" panose="020B0609040504020204" pitchFamily="49" charset="0"/>
              </a:rPr>
              <a:t>InvalidCmd:String</a:t>
            </a:r>
            <a:r>
              <a:rPr lang="en-US">
                <a:solidFill>
                  <a:srgbClr val="F5F5F5"/>
                </a:solidFill>
                <a:latin typeface="Lucida Console" panose="020B0609040504020204" pitchFamily="49"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FullyQualifiedErrorID</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 </a:t>
            </a: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CommandNotFoundException</a:t>
            </a:r>
            <a:endPar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err="1">
                <a:solidFill>
                  <a:srgbClr val="F5F5F5"/>
                </a:solidFill>
                <a:latin typeface="Lucida Console" panose="020B0609040504020204" pitchFamily="49" charset="0"/>
              </a:rPr>
              <a:t>ErrorDetails</a:t>
            </a:r>
            <a:r>
              <a:rPr lang="en-US">
                <a:solidFill>
                  <a:srgbClr val="F5F5F5"/>
                </a:solidFill>
                <a:latin typeface="Lucida Console" panose="020B0609040504020204" pitchFamily="49" charset="0"/>
              </a:rPr>
              <a:t>          :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err="1">
                <a:solidFill>
                  <a:srgbClr val="F5F5F5"/>
                </a:solidFill>
                <a:latin typeface="Lucida Console" panose="020B0609040504020204" pitchFamily="49" charset="0"/>
              </a:rPr>
              <a:t>ScriptStackTrace</a:t>
            </a:r>
            <a:r>
              <a:rPr lang="en-US">
                <a:solidFill>
                  <a:srgbClr val="F5F5F5"/>
                </a:solidFill>
                <a:latin typeface="Lucida Console" panose="020B0609040504020204" pitchFamily="49" charset="0"/>
              </a:rPr>
              <a:t>      : at &lt;</a:t>
            </a:r>
            <a:r>
              <a:rPr lang="en-US" err="1">
                <a:solidFill>
                  <a:srgbClr val="F5F5F5"/>
                </a:solidFill>
                <a:latin typeface="Lucida Console" panose="020B0609040504020204" pitchFamily="49" charset="0"/>
              </a:rPr>
              <a:t>ScriptBlock</a:t>
            </a:r>
            <a:r>
              <a:rPr lang="en-US">
                <a:solidFill>
                  <a:srgbClr val="F5F5F5"/>
                </a:solidFill>
                <a:latin typeface="Lucida Console" panose="020B0609040504020204" pitchFamily="49" charset="0"/>
              </a:rPr>
              <a:t>&gt;, &lt;No file&gt;: line 1</a:t>
            </a:r>
          </a:p>
          <a:p>
            <a:pPr marL="0" marR="0" lvl="0" indent="0" algn="l" defTabSz="457200" rtl="0" eaLnBrk="1" fontAlgn="auto" latinLnBrk="0" hangingPunct="1">
              <a:lnSpc>
                <a:spcPct val="100000"/>
              </a:lnSpc>
              <a:spcBef>
                <a:spcPts val="0"/>
              </a:spcBef>
              <a:spcAft>
                <a:spcPts val="0"/>
              </a:spcAft>
              <a:buClrTx/>
              <a:buSzTx/>
              <a:buFontTx/>
              <a:buNone/>
              <a:tabLst/>
              <a:defRPr/>
            </a:pPr>
            <a:r>
              <a:rPr lang="en-US">
                <a:solidFill>
                  <a:srgbClr val="F5F5F5"/>
                </a:solidFill>
                <a:latin typeface="Lucida Console" panose="020B0609040504020204" pitchFamily="49" charset="0"/>
              </a:rPr>
              <a:t>...</a:t>
            </a:r>
          </a:p>
        </p:txBody>
      </p:sp>
      <p:sp>
        <p:nvSpPr>
          <p:cNvPr id="8" name="Rectangle 7"/>
          <p:cNvSpPr/>
          <p:nvPr/>
        </p:nvSpPr>
        <p:spPr>
          <a:xfrm>
            <a:off x="701677" y="1876432"/>
            <a:ext cx="10880723" cy="707886"/>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sz="20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Error</a:t>
            </a:r>
            <a:r>
              <a:rPr kumimoji="0" lang="en-US" sz="20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rPr>
              <a:t>0</a:t>
            </a:r>
            <a:r>
              <a:rPr kumimoji="0" lang="en-US" sz="20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E0FFFF"/>
                </a:solidFill>
                <a:effectLst/>
                <a:uLnTx/>
                <a:uFillTx/>
                <a:latin typeface="Lucida Console" panose="020B0609040504020204" pitchFamily="49" charset="0"/>
                <a:ea typeface="+mn-ea"/>
                <a:cs typeface="+mn-cs"/>
              </a:rPr>
              <a:t>Format-Lis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EE82EE"/>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FFE4B5"/>
                </a:solidFill>
                <a:effectLst/>
                <a:uLnTx/>
                <a:uFillTx/>
                <a:latin typeface="Lucida Console" panose="020B0609040504020204" pitchFamily="49" charset="0"/>
                <a:ea typeface="+mn-ea"/>
                <a:cs typeface="+mn-cs"/>
              </a:rPr>
              <a:t>-Force</a:t>
            </a:r>
            <a:endPar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sz="20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Error</a:t>
            </a:r>
            <a:r>
              <a:rPr kumimoji="0" lang="en-US" sz="20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rPr>
              <a:t>0</a:t>
            </a:r>
            <a:r>
              <a:rPr kumimoji="0" lang="en-US" sz="20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E0FFFF"/>
                </a:solidFill>
                <a:effectLst/>
                <a:uLnTx/>
                <a:uFillTx/>
                <a:latin typeface="Lucida Console" panose="020B0609040504020204" pitchFamily="49" charset="0"/>
                <a:ea typeface="+mn-ea"/>
                <a:cs typeface="+mn-cs"/>
              </a:rPr>
              <a:t>Select-Object</a:t>
            </a: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2000" b="0" i="0" u="none" strike="noStrike" kern="1200" cap="none" spc="0" normalizeH="0" baseline="0" noProof="0">
                <a:ln>
                  <a:noFill/>
                </a:ln>
                <a:solidFill>
                  <a:srgbClr val="EE82EE"/>
                </a:solidFill>
                <a:effectLst/>
                <a:uLnTx/>
                <a:uFillTx/>
                <a:latin typeface="Lucida Console" panose="020B0609040504020204" pitchFamily="49" charset="0"/>
                <a:ea typeface="+mn-ea"/>
                <a:cs typeface="+mn-cs"/>
              </a:rPr>
              <a:t>*</a:t>
            </a:r>
            <a:endPar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p:txBody>
      </p:sp>
      <p:sp>
        <p:nvSpPr>
          <p:cNvPr id="9" name="Content Placeholder 2">
            <a:extLst>
              <a:ext uri="{FF2B5EF4-FFF2-40B4-BE49-F238E27FC236}">
                <a16:creationId xmlns:a16="http://schemas.microsoft.com/office/drawing/2014/main" id="{418C45B4-BD61-454B-B736-C66BD9E3D929}"/>
              </a:ext>
            </a:extLst>
          </p:cNvPr>
          <p:cNvSpPr txBox="1">
            <a:spLocks/>
          </p:cNvSpPr>
          <p:nvPr/>
        </p:nvSpPr>
        <p:spPr>
          <a:xfrm>
            <a:off x="609600" y="2707009"/>
            <a:ext cx="10880726" cy="843517"/>
          </a:xfrm>
          <a:prstGeom prst="rect">
            <a:avLst/>
          </a:prstGeom>
        </p:spPr>
        <p:txBody>
          <a:bodyPr vert="horz" lIns="91440" tIns="45720" rIns="91440" bIns="45720" rtlCol="0" anchor="t">
            <a:no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a:latin typeface="Segoe UI" panose="020B0502040204020203" pitchFamily="34" charset="0"/>
            </a:endParaRPr>
          </a:p>
          <a:p>
            <a:r>
              <a:rPr lang="en-US">
                <a:latin typeface="Segoe UI" panose="020B0502040204020203" pitchFamily="34" charset="0"/>
              </a:rPr>
              <a:t>Error property </a:t>
            </a:r>
            <a:r>
              <a:rPr lang="en-US" b="1">
                <a:latin typeface="Segoe UI" panose="020B0502040204020203" pitchFamily="34" charset="0"/>
              </a:rPr>
              <a:t>details</a:t>
            </a:r>
            <a:r>
              <a:rPr lang="en-US">
                <a:latin typeface="Segoe UI" panose="020B0502040204020203" pitchFamily="34" charset="0"/>
              </a:rPr>
              <a:t>:</a:t>
            </a:r>
          </a:p>
          <a:p>
            <a:endParaRPr lang="en-US">
              <a:latin typeface="Segoe UI" panose="020B0502040204020203" pitchFamily="34" charset="0"/>
            </a:endParaRPr>
          </a:p>
        </p:txBody>
      </p:sp>
    </p:spTree>
    <p:custDataLst>
      <p:tags r:id="rId1"/>
    </p:custDataLst>
    <p:extLst>
      <p:ext uri="{BB962C8B-B14F-4D97-AF65-F5344CB8AC3E}">
        <p14:creationId xmlns:p14="http://schemas.microsoft.com/office/powerpoint/2010/main" val="636856898"/>
      </p:ext>
    </p:extLst>
  </p:cSld>
  <p:clrMapOvr>
    <a:masterClrMapping/>
  </p:clrMapOvr>
  <p:transition spd="slow"/>
  <p:extLst>
    <p:ext uri="{6950BFC3-D8DA-4A85-94F7-54DA5524770B}">
      <p188:commentRel xmlns:p188="http://schemas.microsoft.com/office/powerpoint/2018/8/main" r:id="rId4"/>
    </p:ext>
  </p:extLst>
</p:sld>
</file>

<file path=ppt/slides/slide2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Segoe UI Semibold" panose="020B0702040204020203" pitchFamily="34" charset="0"/>
                <a:cs typeface="Segoe UI Light"/>
              </a:rPr>
              <a:t>Error Record Objects</a:t>
            </a:r>
          </a:p>
        </p:txBody>
      </p:sp>
      <p:graphicFrame>
        <p:nvGraphicFramePr>
          <p:cNvPr id="4" name="Content Placeholder 3">
            <a:extLst>
              <a:ext uri="{FF2B5EF4-FFF2-40B4-BE49-F238E27FC236}">
                <a16:creationId xmlns:a16="http://schemas.microsoft.com/office/drawing/2014/main" id="{ED365544-2E33-4990-88D9-C6A7A62DFB99}"/>
              </a:ext>
            </a:extLst>
          </p:cNvPr>
          <p:cNvGraphicFramePr>
            <a:graphicFrameLocks noGrp="1"/>
          </p:cNvGraphicFramePr>
          <p:nvPr>
            <p:ph sz="quarter" idx="13"/>
            <p:extLst>
              <p:ext uri="{D42A27DB-BD31-4B8C-83A1-F6EECF244321}">
                <p14:modId xmlns:p14="http://schemas.microsoft.com/office/powerpoint/2010/main" val="300638500"/>
              </p:ext>
            </p:extLst>
          </p:nvPr>
        </p:nvGraphicFramePr>
        <p:xfrm>
          <a:off x="609599" y="810896"/>
          <a:ext cx="10926763" cy="2862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tangle 5"/>
          <p:cNvSpPr/>
          <p:nvPr/>
        </p:nvSpPr>
        <p:spPr>
          <a:xfrm>
            <a:off x="609599" y="3777862"/>
            <a:ext cx="10926763" cy="2862322"/>
          </a:xfrm>
          <a:prstGeom prst="rect">
            <a:avLst/>
          </a:prstGeom>
          <a:solidFill>
            <a:srgbClr val="012456"/>
          </a:solidFill>
        </p:spPr>
        <p:txBody>
          <a:bodyPr wrap="square">
            <a:spAutoFit/>
          </a:bodyPr>
          <a:lstStyle/>
          <a:p>
            <a:pPr defTabSz="457200">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sz="18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Error</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rPr>
              <a:t>0</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E0FFFF"/>
                </a:solidFill>
                <a:effectLst/>
                <a:uLnTx/>
                <a:uFillTx/>
                <a:latin typeface="Lucida Console" panose="020B0609040504020204" pitchFamily="49" charset="0"/>
                <a:ea typeface="+mn-ea"/>
                <a:cs typeface="+mn-cs"/>
              </a:rPr>
              <a:t>Format-Lis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EE82EE"/>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E4B5"/>
                </a:solidFill>
                <a:effectLst/>
                <a:uLnTx/>
                <a:uFillTx/>
                <a:latin typeface="Lucida Console" panose="020B0609040504020204" pitchFamily="49" charset="0"/>
                <a:ea typeface="+mn-ea"/>
                <a:cs typeface="+mn-cs"/>
              </a:rPr>
              <a:t>-Force</a:t>
            </a:r>
            <a:endPar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solidFill>
                <a:srgbClr val="F5F5F5"/>
              </a:solidFill>
              <a:latin typeface="Lucida Console" panose="020B060904050402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MessageDetails</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Exception             : </a:t>
            </a: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System.Management.Automation.CommandNotFoundExcept</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err="1">
                <a:solidFill>
                  <a:srgbClr val="F5F5F5"/>
                </a:solidFill>
                <a:latin typeface="Lucida Console" panose="020B0609040504020204" pitchFamily="49" charset="0"/>
              </a:rPr>
              <a:t>TargetObject</a:t>
            </a:r>
            <a:r>
              <a:rPr lang="en-US">
                <a:solidFill>
                  <a:srgbClr val="F5F5F5"/>
                </a:solidFill>
                <a:latin typeface="Lucida Console" panose="020B0609040504020204" pitchFamily="49" charset="0"/>
              </a:rPr>
              <a:t>          : </a:t>
            </a:r>
            <a:r>
              <a:rPr lang="en-US" err="1">
                <a:solidFill>
                  <a:srgbClr val="F5F5F5"/>
                </a:solidFill>
                <a:latin typeface="Lucida Console" panose="020B0609040504020204" pitchFamily="49" charset="0"/>
              </a:rPr>
              <a:t>InvalidCmd</a:t>
            </a:r>
            <a:endParaRPr lang="en-US">
              <a:solidFill>
                <a:srgbClr val="F5F5F5"/>
              </a:solidFill>
              <a:latin typeface="Lucida Console" panose="020B0609040504020204" pitchFamily="49"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CategoryInfo          : </a:t>
            </a: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ObjectNotFound</a:t>
            </a:r>
            <a:r>
              <a:rPr lang="en-US">
                <a:solidFill>
                  <a:srgbClr val="F5F5F5"/>
                </a:solidFill>
                <a:latin typeface="Lucida Console" panose="020B0609040504020204" pitchFamily="49" charset="0"/>
              </a:rPr>
              <a:t>: (</a:t>
            </a:r>
            <a:r>
              <a:rPr lang="en-US" err="1">
                <a:solidFill>
                  <a:srgbClr val="F5F5F5"/>
                </a:solidFill>
                <a:latin typeface="Lucida Console" panose="020B0609040504020204" pitchFamily="49" charset="0"/>
              </a:rPr>
              <a:t>InvalidCmd:String</a:t>
            </a:r>
            <a:r>
              <a:rPr lang="en-US">
                <a:solidFill>
                  <a:srgbClr val="F5F5F5"/>
                </a:solidFill>
                <a:latin typeface="Lucida Console" panose="020B0609040504020204" pitchFamily="49"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FullyQualifiedErrorID</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 </a:t>
            </a:r>
            <a:r>
              <a:rPr kumimoji="0" lang="en-US"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CommandNotFoundException</a:t>
            </a:r>
            <a:endPar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err="1">
                <a:solidFill>
                  <a:srgbClr val="F5F5F5"/>
                </a:solidFill>
                <a:latin typeface="Lucida Console" panose="020B0609040504020204" pitchFamily="49" charset="0"/>
              </a:rPr>
              <a:t>ErrorDetails</a:t>
            </a:r>
            <a:r>
              <a:rPr lang="en-US">
                <a:solidFill>
                  <a:srgbClr val="F5F5F5"/>
                </a:solidFill>
                <a:latin typeface="Lucida Console" panose="020B0609040504020204" pitchFamily="49" charset="0"/>
              </a:rPr>
              <a:t>          :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err="1">
                <a:solidFill>
                  <a:srgbClr val="F5F5F5"/>
                </a:solidFill>
                <a:latin typeface="Lucida Console" panose="020B0609040504020204" pitchFamily="49" charset="0"/>
              </a:rPr>
              <a:t>ScriptStackTrace</a:t>
            </a:r>
            <a:r>
              <a:rPr lang="en-US">
                <a:solidFill>
                  <a:srgbClr val="F5F5F5"/>
                </a:solidFill>
                <a:latin typeface="Lucida Console" panose="020B0609040504020204" pitchFamily="49" charset="0"/>
              </a:rPr>
              <a:t>      : at &lt;</a:t>
            </a:r>
            <a:r>
              <a:rPr lang="en-US" err="1">
                <a:solidFill>
                  <a:srgbClr val="F5F5F5"/>
                </a:solidFill>
                <a:latin typeface="Lucida Console" panose="020B0609040504020204" pitchFamily="49" charset="0"/>
              </a:rPr>
              <a:t>ScriptBlock</a:t>
            </a:r>
            <a:r>
              <a:rPr lang="en-US">
                <a:solidFill>
                  <a:srgbClr val="F5F5F5"/>
                </a:solidFill>
                <a:latin typeface="Lucida Console" panose="020B0609040504020204" pitchFamily="49" charset="0"/>
              </a:rPr>
              <a:t>&gt;, &lt;No file&gt;: line 1</a:t>
            </a:r>
          </a:p>
          <a:p>
            <a:pPr marL="0" marR="0" lvl="0" indent="0" algn="l" defTabSz="457200" rtl="0" eaLnBrk="1" fontAlgn="auto" latinLnBrk="0" hangingPunct="1">
              <a:lnSpc>
                <a:spcPct val="100000"/>
              </a:lnSpc>
              <a:spcBef>
                <a:spcPts val="0"/>
              </a:spcBef>
              <a:spcAft>
                <a:spcPts val="0"/>
              </a:spcAft>
              <a:buClrTx/>
              <a:buSzTx/>
              <a:buFontTx/>
              <a:buNone/>
              <a:tabLst/>
              <a:defRPr/>
            </a:pPr>
            <a:r>
              <a:rPr lang="en-US">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3366374167"/>
      </p:ext>
    </p:extLst>
  </p:cSld>
  <p:clrMapOvr>
    <a:masterClrMapping/>
  </p:clrMapOvr>
  <p:transition spd="slow"/>
</p:sld>
</file>

<file path=ppt/slides/slide2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Segoe UI Semibold" panose="020B0702040204020203" pitchFamily="34" charset="0"/>
                <a:cs typeface="Segoe UI Light"/>
              </a:rPr>
              <a:t>-</a:t>
            </a:r>
            <a:r>
              <a:rPr lang="en-US" err="1">
                <a:latin typeface="Segoe UI Semibold" panose="020B0702040204020203" pitchFamily="34" charset="0"/>
                <a:cs typeface="Segoe UI Light"/>
              </a:rPr>
              <a:t>ErrorVariable</a:t>
            </a:r>
            <a:r>
              <a:rPr lang="en-US">
                <a:latin typeface="Segoe UI Semibold" panose="020B0702040204020203" pitchFamily="34" charset="0"/>
                <a:cs typeface="Segoe UI Light"/>
              </a:rPr>
              <a:t> common parameter</a:t>
            </a:r>
          </a:p>
        </p:txBody>
      </p:sp>
      <p:sp>
        <p:nvSpPr>
          <p:cNvPr id="4" name="Rectangle 3">
            <a:extLst>
              <a:ext uri="{FF2B5EF4-FFF2-40B4-BE49-F238E27FC236}">
                <a16:creationId xmlns:a16="http://schemas.microsoft.com/office/drawing/2014/main" id="{16643B86-A377-4AC8-8AAA-04DD80B08CBB}"/>
              </a:ext>
            </a:extLst>
          </p:cNvPr>
          <p:cNvSpPr/>
          <p:nvPr/>
        </p:nvSpPr>
        <p:spPr>
          <a:xfrm>
            <a:off x="813471" y="3818964"/>
            <a:ext cx="10977228" cy="2482327"/>
          </a:xfrm>
          <a:prstGeom prst="rect">
            <a:avLst/>
          </a:prstGeom>
          <a:solidFill>
            <a:srgbClr val="012456"/>
          </a:solidFill>
        </p:spPr>
        <p:txBody>
          <a:bodyPr wrap="square">
            <a:noAutofit/>
          </a:bodyPr>
          <a:lstStyle/>
          <a:p>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gt; </a:t>
            </a:r>
            <a:r>
              <a:rPr lang="en-US" sz="1800">
                <a:solidFill>
                  <a:srgbClr val="E0FFFF"/>
                </a:solidFill>
                <a:latin typeface="Lucida Console" panose="020B0609040504020204" pitchFamily="49" charset="0"/>
              </a:rPr>
              <a:t>Get-Proces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Id</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ErrorVariable</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MyErrs</a:t>
            </a:r>
            <a:r>
              <a:rPr lang="en-US" sz="1800">
                <a:solidFill>
                  <a:srgbClr val="EE82EE"/>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ErrorAction</a:t>
            </a:r>
            <a:r>
              <a:rPr lang="en-US">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SilentlyContinue</a:t>
            </a:r>
            <a:r>
              <a:rPr lang="en-US" sz="1800">
                <a:solidFill>
                  <a:srgbClr val="EE82EE"/>
                </a:solidFill>
                <a:latin typeface="Lucida Console" panose="020B0609040504020204" pitchFamily="49" charset="0"/>
              </a:rPr>
              <a:t> </a:t>
            </a:r>
            <a:endPar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defTabSz="457200">
              <a:defRPr/>
            </a:pP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gt; </a:t>
            </a:r>
            <a:r>
              <a:rPr lang="en-US" sz="1800">
                <a:solidFill>
                  <a:srgbClr val="E0FFFF"/>
                </a:solidFill>
                <a:latin typeface="Lucida Console" panose="020B0609040504020204" pitchFamily="49" charset="0"/>
              </a:rPr>
              <a:t>if</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MyErrs</a:t>
            </a:r>
            <a:r>
              <a:rPr lang="en-US"/>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Count </a:t>
            </a:r>
            <a:r>
              <a:rPr lang="en-US" sz="1800">
                <a:solidFill>
                  <a:srgbClr val="D3D3D3"/>
                </a:solidFill>
                <a:latin typeface="Lucida Console" panose="020B0609040504020204" pitchFamily="49" charset="0"/>
              </a:rPr>
              <a:t>-</a:t>
            </a:r>
            <a:r>
              <a:rPr lang="en-US" sz="1800" err="1">
                <a:solidFill>
                  <a:srgbClr val="D3D3D3"/>
                </a:solidFill>
                <a:latin typeface="Lucida Console" panose="020B0609040504020204" pitchFamily="49" charset="0"/>
              </a:rPr>
              <a:t>g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0</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Error handling code’</a:t>
            </a:r>
            <a:r>
              <a:rPr lang="en-US" sz="1800">
                <a:solidFill>
                  <a:srgbClr val="F5F5F5"/>
                </a:solidFill>
                <a:latin typeface="Lucida Console" panose="020B0609040504020204" pitchFamily="49" charset="0"/>
              </a:rPr>
              <a:t>} </a:t>
            </a:r>
          </a:p>
          <a:p>
            <a:pPr defTabSz="457200">
              <a:defRPr/>
            </a:pPr>
            <a:endParaRPr lang="en-US">
              <a:solidFill>
                <a:srgbClr val="F5F5F5"/>
              </a:solidFill>
              <a:latin typeface="Lucida Console" panose="020B0609040504020204" pitchFamily="49" charset="0"/>
            </a:endParaRPr>
          </a:p>
          <a:p>
            <a:pPr defTabSz="457200">
              <a:defRPr/>
            </a:pPr>
            <a:r>
              <a:rPr lang="en-US">
                <a:solidFill>
                  <a:srgbClr val="F5F5F5"/>
                </a:solidFill>
                <a:latin typeface="Lucida Console" panose="020B0609040504020204" pitchFamily="49" charset="0"/>
              </a:rPr>
              <a:t>Error handling code</a:t>
            </a:r>
          </a:p>
          <a:p>
            <a:pPr defTabSz="457200">
              <a:defRPr/>
            </a:pPr>
            <a:endParaRPr lang="en-US">
              <a:solidFill>
                <a:srgbClr val="F5F5F5"/>
              </a:solidFill>
              <a:latin typeface="Lucida Console" panose="020B0609040504020204" pitchFamily="49" charset="0"/>
            </a:endParaRPr>
          </a:p>
          <a:p>
            <a:pPr defTabSz="457200">
              <a:defRPr/>
            </a:pPr>
            <a:r>
              <a:rPr lang="en-US" sz="1800">
                <a:solidFill>
                  <a:srgbClr val="98FB98"/>
                </a:solidFill>
                <a:latin typeface="Lucida Console" panose="020B0609040504020204" pitchFamily="49" charset="0"/>
              </a:rPr>
              <a:t># A real process won’t populate $</a:t>
            </a:r>
            <a:r>
              <a:rPr lang="en-US" sz="1800" err="1">
                <a:solidFill>
                  <a:srgbClr val="98FB98"/>
                </a:solidFill>
                <a:latin typeface="Lucida Console" panose="020B0609040504020204" pitchFamily="49" charset="0"/>
              </a:rPr>
              <a:t>MyErrs</a:t>
            </a:r>
            <a:endParaRPr lang="en-US">
              <a:solidFill>
                <a:srgbClr val="F5F5F5"/>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gt; </a:t>
            </a:r>
            <a:r>
              <a:rPr kumimoji="0" lang="en-US" sz="1800" b="0" i="0" u="none" strike="noStrike" kern="1200" cap="none" spc="0" normalizeH="0" baseline="0" noProof="0">
                <a:ln>
                  <a:noFill/>
                </a:ln>
                <a:solidFill>
                  <a:srgbClr val="E0FFFF"/>
                </a:solidFill>
                <a:effectLst/>
                <a:uLnTx/>
                <a:uFillTx/>
                <a:latin typeface="Lucida Console" panose="020B0609040504020204" pitchFamily="49" charset="0"/>
                <a:ea typeface="+mn-ea"/>
                <a:cs typeface="+mn-cs"/>
              </a:rPr>
              <a:t>Get-Process</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E4B5"/>
                </a:solidFill>
                <a:effectLst/>
                <a:uLnTx/>
                <a:uFillTx/>
                <a:latin typeface="Lucida Console" panose="020B0609040504020204" pitchFamily="49" charset="0"/>
                <a:ea typeface="+mn-ea"/>
                <a:cs typeface="+mn-cs"/>
              </a:rPr>
              <a:t>-Id</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lang="en-US">
                <a:solidFill>
                  <a:srgbClr val="FFE4C4"/>
                </a:solidFill>
                <a:latin typeface="Lucida Console" panose="020B0609040504020204" pitchFamily="49" charset="0"/>
              </a:rPr>
              <a:t>5067</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E4B5"/>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err="1">
                <a:ln>
                  <a:noFill/>
                </a:ln>
                <a:solidFill>
                  <a:srgbClr val="FFE4B5"/>
                </a:solidFill>
                <a:effectLst/>
                <a:uLnTx/>
                <a:uFillTx/>
                <a:latin typeface="Lucida Console" panose="020B0609040504020204" pitchFamily="49" charset="0"/>
                <a:ea typeface="+mn-ea"/>
                <a:cs typeface="+mn-cs"/>
              </a:rPr>
              <a:t>ErrorVariabl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EE82EE"/>
                </a:solidFill>
                <a:effectLst/>
                <a:uLnTx/>
                <a:uFillTx/>
                <a:latin typeface="Lucida Console" panose="020B0609040504020204" pitchFamily="49" charset="0"/>
                <a:ea typeface="+mn-ea"/>
                <a:cs typeface="+mn-cs"/>
              </a:rPr>
              <a:t>MyErrs</a:t>
            </a:r>
            <a:r>
              <a:rPr kumimoji="0" lang="en-US" sz="1800" b="0" i="0" u="none" strike="noStrike" kern="1200" cap="none" spc="0" normalizeH="0" baseline="0" noProof="0">
                <a:ln>
                  <a:noFill/>
                </a:ln>
                <a:solidFill>
                  <a:srgbClr val="EE82EE"/>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E4B5"/>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err="1">
                <a:ln>
                  <a:noFill/>
                </a:ln>
                <a:solidFill>
                  <a:srgbClr val="FFE4B5"/>
                </a:solidFill>
                <a:effectLst/>
                <a:uLnTx/>
                <a:uFillTx/>
                <a:latin typeface="Lucida Console" panose="020B0609040504020204" pitchFamily="49" charset="0"/>
                <a:ea typeface="+mn-ea"/>
                <a:cs typeface="+mn-cs"/>
              </a:rPr>
              <a:t>ErrorAction</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EE82EE"/>
                </a:solidFill>
                <a:effectLst/>
                <a:uLnTx/>
                <a:uFillTx/>
                <a:latin typeface="Lucida Console" panose="020B0609040504020204" pitchFamily="49" charset="0"/>
                <a:ea typeface="+mn-ea"/>
                <a:cs typeface="+mn-cs"/>
              </a:rPr>
              <a:t>SilentlyContinue</a:t>
            </a:r>
            <a:r>
              <a:rPr kumimoji="0" lang="en-US" sz="1800" b="0" i="0" u="none" strike="noStrike" kern="1200" cap="none" spc="0" normalizeH="0" baseline="0" noProof="0">
                <a:ln>
                  <a:noFill/>
                </a:ln>
                <a:solidFill>
                  <a:srgbClr val="EE82EE"/>
                </a:solidFill>
                <a:effectLst/>
                <a:uLnTx/>
                <a:uFillTx/>
                <a:latin typeface="Lucida Console" panose="020B0609040504020204" pitchFamily="49" charset="0"/>
                <a:ea typeface="+mn-ea"/>
                <a:cs typeface="+mn-cs"/>
              </a:rPr>
              <a:t> </a:t>
            </a:r>
            <a:endPar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gt; </a:t>
            </a:r>
            <a:r>
              <a:rPr kumimoji="0" lang="en-US" sz="1800" b="0" i="0" u="none" strike="noStrike" kern="1200" cap="none" spc="0" normalizeH="0" baseline="0" noProof="0">
                <a:ln>
                  <a:noFill/>
                </a:ln>
                <a:solidFill>
                  <a:srgbClr val="E0FFFF"/>
                </a:solidFill>
                <a:effectLst/>
                <a:uLnTx/>
                <a:uFillTx/>
                <a:latin typeface="Lucida Console" panose="020B0609040504020204" pitchFamily="49" charset="0"/>
                <a:ea typeface="+mn-ea"/>
                <a:cs typeface="+mn-cs"/>
              </a:rPr>
              <a:t>if</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err="1">
                <a:ln>
                  <a:noFill/>
                </a:ln>
                <a:solidFill>
                  <a:srgbClr val="FF4500"/>
                </a:solidFill>
                <a:effectLst/>
                <a:uLnTx/>
                <a:uFillTx/>
                <a:latin typeface="Lucida Console" panose="020B0609040504020204" pitchFamily="49" charset="0"/>
                <a:ea typeface="+mn-ea"/>
                <a:cs typeface="+mn-cs"/>
              </a:rPr>
              <a:t>MyErrs</a:t>
            </a: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Count </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err="1">
                <a:ln>
                  <a:noFill/>
                </a:ln>
                <a:solidFill>
                  <a:srgbClr val="D3D3D3"/>
                </a:solidFill>
                <a:effectLst/>
                <a:uLnTx/>
                <a:uFillTx/>
                <a:latin typeface="Lucida Console" panose="020B0609040504020204" pitchFamily="49" charset="0"/>
                <a:ea typeface="+mn-ea"/>
                <a:cs typeface="+mn-cs"/>
              </a:rPr>
              <a:t>g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rPr>
              <a:t>0</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DB7093"/>
                </a:solidFill>
                <a:effectLst/>
                <a:uLnTx/>
                <a:uFillTx/>
                <a:latin typeface="Lucida Console" panose="020B0609040504020204" pitchFamily="49" charset="0"/>
                <a:ea typeface="+mn-ea"/>
                <a:cs typeface="+mn-cs"/>
              </a:rPr>
              <a:t>‘Error handling cod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p>
          <a:p>
            <a:pPr defTabSz="457200">
              <a:defRPr/>
            </a:pPr>
            <a:endParaRPr lang="en-US" sz="2000">
              <a:solidFill>
                <a:srgbClr val="98FB98"/>
              </a:solidFill>
              <a:latin typeface="Lucida Console" panose="020B0609040504020204" pitchFamily="49" charset="0"/>
            </a:endParaRPr>
          </a:p>
        </p:txBody>
      </p:sp>
      <p:graphicFrame>
        <p:nvGraphicFramePr>
          <p:cNvPr id="3" name="Diagram 2">
            <a:extLst>
              <a:ext uri="{FF2B5EF4-FFF2-40B4-BE49-F238E27FC236}">
                <a16:creationId xmlns:a16="http://schemas.microsoft.com/office/drawing/2014/main" id="{70123ECC-7C7D-49AE-97EA-F5B01B6CCE3B}"/>
              </a:ext>
            </a:extLst>
          </p:cNvPr>
          <p:cNvGraphicFramePr/>
          <p:nvPr>
            <p:extLst>
              <p:ext uri="{D42A27DB-BD31-4B8C-83A1-F6EECF244321}">
                <p14:modId xmlns:p14="http://schemas.microsoft.com/office/powerpoint/2010/main" val="1434352755"/>
              </p:ext>
            </p:extLst>
          </p:nvPr>
        </p:nvGraphicFramePr>
        <p:xfrm>
          <a:off x="813471" y="1105830"/>
          <a:ext cx="10880724" cy="21429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40889345"/>
      </p:ext>
    </p:extLst>
  </p:cSld>
  <p:clrMapOvr>
    <a:masterClrMapping/>
  </p:clrMapOvr>
  <p:transition spd="slow"/>
</p:sld>
</file>

<file path=ppt/slides/slide2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rite-Error</a:t>
            </a:r>
          </a:p>
        </p:txBody>
      </p:sp>
      <p:graphicFrame>
        <p:nvGraphicFramePr>
          <p:cNvPr id="4" name="Content Placeholder 3">
            <a:extLst>
              <a:ext uri="{FF2B5EF4-FFF2-40B4-BE49-F238E27FC236}">
                <a16:creationId xmlns:a16="http://schemas.microsoft.com/office/drawing/2014/main" id="{6645271A-6B6D-4E8D-A5B7-36B60192491E}"/>
              </a:ext>
            </a:extLst>
          </p:cNvPr>
          <p:cNvGraphicFramePr>
            <a:graphicFrameLocks noGrp="1"/>
          </p:cNvGraphicFramePr>
          <p:nvPr>
            <p:ph sz="quarter" idx="13"/>
            <p:extLst>
              <p:ext uri="{D42A27DB-BD31-4B8C-83A1-F6EECF244321}">
                <p14:modId xmlns:p14="http://schemas.microsoft.com/office/powerpoint/2010/main" val="1918096235"/>
              </p:ext>
            </p:extLst>
          </p:nvPr>
        </p:nvGraphicFramePr>
        <p:xfrm>
          <a:off x="655637" y="1032861"/>
          <a:ext cx="10880726" cy="18212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Code Box">
            <a:extLst>
              <a:ext uri="{FF2B5EF4-FFF2-40B4-BE49-F238E27FC236}">
                <a16:creationId xmlns:a16="http://schemas.microsoft.com/office/drawing/2014/main" id="{116F3ADC-E186-4D2D-9DAE-25E1A8C8A149}"/>
              </a:ext>
            </a:extLst>
          </p:cNvPr>
          <p:cNvSpPr/>
          <p:nvPr>
            <p:custDataLst>
              <p:tags r:id="rId2"/>
            </p:custDataLst>
          </p:nvPr>
        </p:nvSpPr>
        <p:spPr>
          <a:xfrm>
            <a:off x="655637" y="2897159"/>
            <a:ext cx="10880725" cy="3388464"/>
          </a:xfrm>
          <a:prstGeom prst="rect">
            <a:avLst/>
          </a:prstGeom>
          <a:solidFill>
            <a:srgbClr val="012456"/>
          </a:solidFill>
        </p:spPr>
        <p:txBody>
          <a:bodyPr wrap="square">
            <a:noAutofit/>
          </a:bodyPr>
          <a:lstStyle/>
          <a:p>
            <a:r>
              <a:rPr lang="en-US" sz="1700">
                <a:latin typeface="Lucida Console" panose="020B0609040504020204" pitchFamily="49" charset="0"/>
              </a:rPr>
              <a:t> </a:t>
            </a:r>
            <a:r>
              <a:rPr lang="en-US" sz="1700">
                <a:solidFill>
                  <a:srgbClr val="F5F5F5"/>
                </a:solidFill>
                <a:latin typeface="Lucida Console" panose="020B0609040504020204" pitchFamily="49" charset="0"/>
              </a:rPr>
              <a:t>PS C:\&gt; </a:t>
            </a:r>
            <a:r>
              <a:rPr lang="en-US">
                <a:solidFill>
                  <a:srgbClr val="E0FFFF"/>
                </a:solidFill>
                <a:latin typeface="Lucida Console" panose="020B0609040504020204" pitchFamily="49" charset="0"/>
              </a:rPr>
              <a:t>Write-Error</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My Custom Error" </a:t>
            </a:r>
          </a:p>
          <a:p>
            <a:r>
              <a:rPr lang="en-US" sz="1700">
                <a:latin typeface="Lucida Console" panose="020B0609040504020204" pitchFamily="49" charset="0"/>
              </a:rPr>
              <a:t> </a:t>
            </a:r>
            <a:r>
              <a:rPr lang="en-US" sz="1800">
                <a:solidFill>
                  <a:srgbClr val="FF9494"/>
                </a:solidFill>
                <a:latin typeface="Lucida Console" panose="020B0609040504020204" pitchFamily="49" charset="0"/>
              </a:rPr>
              <a:t>Write-Error "My Custom Error"  : My Custom Error</a:t>
            </a:r>
          </a:p>
          <a:p>
            <a:r>
              <a:rPr lang="en-US" sz="1800">
                <a:solidFill>
                  <a:srgbClr val="FF9494"/>
                </a:solidFill>
                <a:latin typeface="Lucida Console" panose="020B0609040504020204" pitchFamily="49" charset="0"/>
              </a:rPr>
              <a:t>   + CategoryInfo : </a:t>
            </a:r>
            <a:r>
              <a:rPr lang="en-US" sz="1800" err="1">
                <a:solidFill>
                  <a:srgbClr val="FF9494"/>
                </a:solidFill>
                <a:latin typeface="Lucida Console" panose="020B0609040504020204" pitchFamily="49" charset="0"/>
              </a:rPr>
              <a:t>NotSpecified</a:t>
            </a:r>
            <a:r>
              <a:rPr lang="en-US" sz="1800">
                <a:solidFill>
                  <a:srgbClr val="FF9494"/>
                </a:solidFill>
                <a:latin typeface="Lucida Console" panose="020B0609040504020204" pitchFamily="49" charset="0"/>
              </a:rPr>
              <a:t>: (:) [Write-Error], </a:t>
            </a:r>
            <a:r>
              <a:rPr lang="en-US" sz="1800" err="1">
                <a:solidFill>
                  <a:srgbClr val="FF9494"/>
                </a:solidFill>
                <a:latin typeface="Lucida Console" panose="020B0609040504020204" pitchFamily="49" charset="0"/>
              </a:rPr>
              <a:t>WriteErrorException</a:t>
            </a:r>
            <a:endParaRPr lang="en-US" sz="1800">
              <a:solidFill>
                <a:srgbClr val="FF9494"/>
              </a:solidFill>
              <a:latin typeface="Lucida Console" panose="020B0609040504020204" pitchFamily="49" charset="0"/>
            </a:endParaRPr>
          </a:p>
          <a:p>
            <a:r>
              <a:rPr lang="en-US" sz="1800">
                <a:solidFill>
                  <a:srgbClr val="FF9494"/>
                </a:solidFill>
                <a:latin typeface="Lucida Console" panose="020B0609040504020204" pitchFamily="49" charset="0"/>
              </a:rPr>
              <a:t>   + </a:t>
            </a:r>
            <a:r>
              <a:rPr lang="en-US" sz="1800" err="1">
                <a:solidFill>
                  <a:srgbClr val="FF9494"/>
                </a:solidFill>
                <a:latin typeface="Lucida Console" panose="020B0609040504020204" pitchFamily="49" charset="0"/>
              </a:rPr>
              <a:t>FullyQualifiedErrorId</a:t>
            </a:r>
            <a:r>
              <a:rPr lang="en-US" sz="1800">
                <a:solidFill>
                  <a:srgbClr val="FF9494"/>
                </a:solidFill>
                <a:latin typeface="Lucida Console" panose="020B0609040504020204" pitchFamily="49" charset="0"/>
              </a:rPr>
              <a:t> : </a:t>
            </a:r>
            <a:r>
              <a:rPr lang="en-US" sz="1800" err="1">
                <a:solidFill>
                  <a:srgbClr val="FF9494"/>
                </a:solidFill>
                <a:latin typeface="Lucida Console" panose="020B0609040504020204" pitchFamily="49" charset="0"/>
              </a:rPr>
              <a:t>icrosoft.PowerShell.Commands.WriteErrorException</a:t>
            </a:r>
            <a:r>
              <a:rPr lang="en-US" sz="1800">
                <a:solidFill>
                  <a:srgbClr val="FF9494"/>
                </a:solidFill>
                <a:latin typeface="Lucida Console" panose="020B0609040504020204" pitchFamily="49" charset="0"/>
              </a:rPr>
              <a:t> </a:t>
            </a:r>
            <a:endParaRPr lang="en-US" sz="1700">
              <a:solidFill>
                <a:srgbClr val="FF4500"/>
              </a:solidFill>
              <a:latin typeface="Lucida Console" panose="020B0609040504020204" pitchFamily="49" charset="0"/>
            </a:endParaRPr>
          </a:p>
          <a:p>
            <a:r>
              <a:rPr lang="en-US" sz="1700">
                <a:latin typeface="Lucida Console" panose="020B0609040504020204" pitchFamily="49" charset="0"/>
              </a:rPr>
              <a:t> </a:t>
            </a:r>
          </a:p>
          <a:p>
            <a:r>
              <a:rPr lang="en-US" sz="1700">
                <a:solidFill>
                  <a:srgbClr val="F5F5F5"/>
                </a:solidFill>
                <a:latin typeface="Lucida Console" panose="020B0609040504020204" pitchFamily="49" charset="0"/>
              </a:rPr>
              <a:t>PS C:\&gt; </a:t>
            </a:r>
            <a:r>
              <a:rPr lang="en-US">
                <a:solidFill>
                  <a:srgbClr val="FF4500"/>
                </a:solidFill>
                <a:latin typeface="Lucida Console" panose="020B0609040504020204" pitchFamily="49" charset="0"/>
              </a:rPr>
              <a:t>$Error</a:t>
            </a:r>
            <a:r>
              <a:rPr lang="en-US">
                <a:solidFill>
                  <a:srgbClr val="D3D3D3"/>
                </a:solidFill>
                <a:latin typeface="Lucida Console" panose="020B0609040504020204" pitchFamily="49" charset="0"/>
              </a:rPr>
              <a:t>[</a:t>
            </a:r>
            <a:r>
              <a:rPr lang="en-US">
                <a:solidFill>
                  <a:srgbClr val="FFE4C4"/>
                </a:solidFill>
                <a:latin typeface="Lucida Console" panose="020B0609040504020204" pitchFamily="49" charset="0"/>
              </a:rPr>
              <a:t>0</a:t>
            </a:r>
            <a:r>
              <a:rPr lang="en-US">
                <a:solidFill>
                  <a:srgbClr val="D3D3D3"/>
                </a:solidFill>
                <a:latin typeface="Lucida Console" panose="020B0609040504020204" pitchFamily="49" charset="0"/>
              </a:rPr>
              <a: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Exception</a:t>
            </a:r>
            <a:endParaRPr lang="en-US">
              <a:solidFill>
                <a:srgbClr val="D3D3D3"/>
              </a:solidFill>
              <a:latin typeface="Lucida Console" panose="020B0609040504020204" pitchFamily="49" charset="0"/>
            </a:endParaRPr>
          </a:p>
          <a:p>
            <a:r>
              <a:rPr lang="en-US" sz="1800">
                <a:solidFill>
                  <a:srgbClr val="F5F5F5"/>
                </a:solidFill>
                <a:latin typeface="Lucida Console" panose="020B0609040504020204" pitchFamily="49" charset="0"/>
              </a:rPr>
              <a:t>My Custom Error </a:t>
            </a:r>
          </a:p>
          <a:p>
            <a:endParaRPr lang="en-US">
              <a:solidFill>
                <a:srgbClr val="F5F5F5"/>
              </a:solidFill>
              <a:latin typeface="Lucida Console" panose="020B0609040504020204" pitchFamily="49" charset="0"/>
            </a:endParaRPr>
          </a:p>
          <a:p>
            <a:r>
              <a:rPr lang="en-US" sz="1700">
                <a:solidFill>
                  <a:srgbClr val="F5F5F5"/>
                </a:solidFill>
                <a:latin typeface="Lucida Console" panose="020B0609040504020204" pitchFamily="49" charset="0"/>
              </a:rPr>
              <a:t>PS C:\&gt; </a:t>
            </a:r>
            <a:r>
              <a:rPr lang="en-US">
                <a:solidFill>
                  <a:srgbClr val="FF4500"/>
                </a:solidFill>
                <a:latin typeface="Lucida Console" panose="020B0609040504020204" pitchFamily="49" charset="0"/>
              </a:rPr>
              <a:t>$Error</a:t>
            </a:r>
            <a:r>
              <a:rPr lang="en-US">
                <a:solidFill>
                  <a:srgbClr val="D3D3D3"/>
                </a:solidFill>
                <a:latin typeface="Lucida Console" panose="020B0609040504020204" pitchFamily="49" charset="0"/>
              </a:rPr>
              <a:t>[</a:t>
            </a:r>
            <a:r>
              <a:rPr lang="en-US">
                <a:solidFill>
                  <a:srgbClr val="FFE4C4"/>
                </a:solidFill>
                <a:latin typeface="Lucida Console" panose="020B0609040504020204" pitchFamily="49" charset="0"/>
              </a:rPr>
              <a:t>0</a:t>
            </a:r>
            <a:r>
              <a:rPr lang="en-US">
                <a:solidFill>
                  <a:srgbClr val="D3D3D3"/>
                </a:solidFill>
                <a:latin typeface="Lucida Console" panose="020B0609040504020204" pitchFamily="49" charset="0"/>
              </a:rPr>
              <a: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Exception.GetTyp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t>
            </a:r>
          </a:p>
          <a:p>
            <a:r>
              <a:rPr lang="en-US" sz="1800" err="1">
                <a:solidFill>
                  <a:srgbClr val="F5F5F5"/>
                </a:solidFill>
                <a:latin typeface="Lucida Console" panose="020B0609040504020204" pitchFamily="49" charset="0"/>
              </a:rPr>
              <a:t>IsPublic</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IsSerial</a:t>
            </a:r>
            <a:r>
              <a:rPr lang="en-US" sz="1800">
                <a:solidFill>
                  <a:srgbClr val="F5F5F5"/>
                </a:solidFill>
                <a:latin typeface="Lucida Console" panose="020B0609040504020204" pitchFamily="49" charset="0"/>
              </a:rPr>
              <a:t> Name                                     </a:t>
            </a:r>
            <a:r>
              <a:rPr lang="en-US" sz="1800" err="1">
                <a:solidFill>
                  <a:srgbClr val="F5F5F5"/>
                </a:solidFill>
                <a:latin typeface="Lucida Console" panose="020B0609040504020204" pitchFamily="49" charset="0"/>
              </a:rPr>
              <a:t>BaseType</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 ----                                     --------                                                </a:t>
            </a:r>
          </a:p>
          <a:p>
            <a:r>
              <a:rPr lang="en-US" sz="1800">
                <a:solidFill>
                  <a:srgbClr val="F5F5F5"/>
                </a:solidFill>
                <a:latin typeface="Lucida Console" panose="020B0609040504020204" pitchFamily="49" charset="0"/>
              </a:rPr>
              <a:t>True     </a:t>
            </a:r>
            <a:r>
              <a:rPr lang="en-US" sz="1800" err="1">
                <a:solidFill>
                  <a:srgbClr val="F5F5F5"/>
                </a:solidFill>
                <a:latin typeface="Lucida Console" panose="020B0609040504020204" pitchFamily="49" charset="0"/>
              </a:rPr>
              <a:t>True</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WriteErrorException</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System.SystemException</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endParaRPr lang="en-US">
              <a:solidFill>
                <a:srgbClr val="FF4500"/>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365285683"/>
      </p:ext>
    </p:extLst>
  </p:cSld>
  <p:clrMapOvr>
    <a:masterClrMapping/>
  </p:clrMapOvr>
  <p:transition spd="slow"/>
</p:sld>
</file>

<file path=ppt/slides/slide27.xml><?xml version="1.0" encoding="utf-8"?>
<p:sld xmlns:a16="http://schemas.microsoft.com/office/drawing/2014/main" xmlns:a14="http://schemas.microsoft.com/office/drawing/2010/main" xmlns:asvg="http://schemas.microsoft.com/office/drawing/2016/SVG/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n-Terminating error handling flow</a:t>
            </a:r>
          </a:p>
        </p:txBody>
      </p:sp>
      <p:sp>
        <p:nvSpPr>
          <p:cNvPr id="3" name="Flowchart: Preparation 2">
            <a:extLst>
              <a:ext uri="{FF2B5EF4-FFF2-40B4-BE49-F238E27FC236}">
                <a16:creationId xmlns:a16="http://schemas.microsoft.com/office/drawing/2014/main" id="{5D7DFDC2-9070-4DB0-AF0B-A6F3BCFD7896}"/>
              </a:ext>
            </a:extLst>
          </p:cNvPr>
          <p:cNvSpPr/>
          <p:nvPr/>
        </p:nvSpPr>
        <p:spPr bwMode="auto">
          <a:xfrm>
            <a:off x="689810" y="1009566"/>
            <a:ext cx="3243264" cy="1182687"/>
          </a:xfrm>
          <a:prstGeom prst="flowChartPreparation">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uppress error messages </a:t>
            </a:r>
            <a:r>
              <a:rPr lang="en-US" sz="2000" i="1">
                <a:gradFill>
                  <a:gsLst>
                    <a:gs pos="0">
                      <a:srgbClr val="FFFFFF"/>
                    </a:gs>
                    <a:gs pos="100000">
                      <a:srgbClr val="FFFFFF"/>
                    </a:gs>
                  </a:gsLst>
                  <a:lin ang="5400000" scaled="0"/>
                </a:gradFill>
                <a:ea typeface="Segoe UI" pitchFamily="34" charset="0"/>
                <a:cs typeface="Segoe UI" pitchFamily="34" charset="0"/>
              </a:rPr>
              <a:t>(optional)</a:t>
            </a:r>
          </a:p>
        </p:txBody>
      </p:sp>
      <p:sp>
        <p:nvSpPr>
          <p:cNvPr id="4" name="Flowchart: Process 3">
            <a:extLst>
              <a:ext uri="{FF2B5EF4-FFF2-40B4-BE49-F238E27FC236}">
                <a16:creationId xmlns:a16="http://schemas.microsoft.com/office/drawing/2014/main" id="{ACF473D4-13E8-498E-9E36-3A53D24E0E49}"/>
              </a:ext>
            </a:extLst>
          </p:cNvPr>
          <p:cNvSpPr/>
          <p:nvPr/>
        </p:nvSpPr>
        <p:spPr bwMode="auto">
          <a:xfrm>
            <a:off x="4587875" y="2837656"/>
            <a:ext cx="2286000" cy="1182687"/>
          </a:xfrm>
          <a:prstGeom prst="flowChartProcess">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ea typeface="Segoe UI" pitchFamily="34" charset="0"/>
                <a:cs typeface="Segoe UI" pitchFamily="34" charset="0"/>
              </a:rPr>
              <a:t>Run Code</a:t>
            </a:r>
          </a:p>
        </p:txBody>
      </p:sp>
      <p:sp>
        <p:nvSpPr>
          <p:cNvPr id="5" name="Flowchart: Process 4">
            <a:extLst>
              <a:ext uri="{FF2B5EF4-FFF2-40B4-BE49-F238E27FC236}">
                <a16:creationId xmlns:a16="http://schemas.microsoft.com/office/drawing/2014/main" id="{C5B82EAC-A7C5-4EF4-B27E-3920FA375F5C}"/>
              </a:ext>
            </a:extLst>
          </p:cNvPr>
          <p:cNvSpPr/>
          <p:nvPr/>
        </p:nvSpPr>
        <p:spPr bwMode="auto">
          <a:xfrm>
            <a:off x="9186445" y="918097"/>
            <a:ext cx="2286000" cy="1182687"/>
          </a:xfrm>
          <a:prstGeom prst="flowChartProcess">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heck for errors</a:t>
            </a:r>
          </a:p>
        </p:txBody>
      </p:sp>
      <p:sp>
        <p:nvSpPr>
          <p:cNvPr id="6" name="Flowchart: Decision 5">
            <a:extLst>
              <a:ext uri="{FF2B5EF4-FFF2-40B4-BE49-F238E27FC236}">
                <a16:creationId xmlns:a16="http://schemas.microsoft.com/office/drawing/2014/main" id="{B653218E-2448-4F26-BB6B-0D695142DA52}"/>
              </a:ext>
            </a:extLst>
          </p:cNvPr>
          <p:cNvSpPr/>
          <p:nvPr/>
        </p:nvSpPr>
        <p:spPr bwMode="auto">
          <a:xfrm>
            <a:off x="9149345" y="2764602"/>
            <a:ext cx="2286000" cy="1328797"/>
          </a:xfrm>
          <a:prstGeom prst="flowChartDecisi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Error?</a:t>
            </a:r>
          </a:p>
        </p:txBody>
      </p:sp>
      <p:sp>
        <p:nvSpPr>
          <p:cNvPr id="22" name="Flowchart: Process 21">
            <a:extLst>
              <a:ext uri="{FF2B5EF4-FFF2-40B4-BE49-F238E27FC236}">
                <a16:creationId xmlns:a16="http://schemas.microsoft.com/office/drawing/2014/main" id="{9A6D8951-34AF-4661-AEF6-10BE78E67643}"/>
              </a:ext>
            </a:extLst>
          </p:cNvPr>
          <p:cNvSpPr/>
          <p:nvPr/>
        </p:nvSpPr>
        <p:spPr bwMode="auto">
          <a:xfrm>
            <a:off x="4587875" y="5081171"/>
            <a:ext cx="2286000" cy="1182687"/>
          </a:xfrm>
          <a:prstGeom prst="flowChartProcess">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ea typeface="Segoe UI" pitchFamily="34" charset="0"/>
                <a:cs typeface="Segoe UI" pitchFamily="34" charset="0"/>
              </a:rPr>
              <a:t>Error handling code</a:t>
            </a:r>
          </a:p>
        </p:txBody>
      </p:sp>
      <p:cxnSp>
        <p:nvCxnSpPr>
          <p:cNvPr id="55" name="Straight Arrow Connector 54">
            <a:extLst>
              <a:ext uri="{FF2B5EF4-FFF2-40B4-BE49-F238E27FC236}">
                <a16:creationId xmlns:a16="http://schemas.microsoft.com/office/drawing/2014/main" id="{86C16418-4C60-4BD6-B185-75CB4BE395EF}"/>
              </a:ext>
            </a:extLst>
          </p:cNvPr>
          <p:cNvCxnSpPr>
            <a:cxnSpLocks/>
            <a:endCxn id="6" idx="0"/>
          </p:cNvCxnSpPr>
          <p:nvPr/>
        </p:nvCxnSpPr>
        <p:spPr>
          <a:xfrm>
            <a:off x="10292345" y="2122710"/>
            <a:ext cx="0" cy="641892"/>
          </a:xfrm>
          <a:prstGeom prst="straightConnector1">
            <a:avLst/>
          </a:prstGeom>
          <a:ln w="101600">
            <a:solidFill>
              <a:schemeClr val="tx1"/>
            </a:solidFill>
            <a:headEnd type="none"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6A68AA3C-E71E-4E28-8FE6-35805C6B4E5A}"/>
              </a:ext>
            </a:extLst>
          </p:cNvPr>
          <p:cNvCxnSpPr>
            <a:cxnSpLocks/>
            <a:stCxn id="3" idx="2"/>
            <a:endCxn id="4" idx="1"/>
          </p:cNvCxnSpPr>
          <p:nvPr/>
        </p:nvCxnSpPr>
        <p:spPr>
          <a:xfrm rot="16200000" flipH="1">
            <a:off x="2831285" y="1672409"/>
            <a:ext cx="1236747" cy="2276433"/>
          </a:xfrm>
          <a:prstGeom prst="bentConnector2">
            <a:avLst/>
          </a:prstGeom>
          <a:ln w="104775">
            <a:solidFill>
              <a:schemeClr val="tx1"/>
            </a:solidFill>
            <a:headEnd type="none" w="sm" len="sm"/>
            <a:tailEnd type="triangle" w="med" len="sm"/>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040CE5A-02DE-4D1A-A13B-06F7398182FB}"/>
              </a:ext>
            </a:extLst>
          </p:cNvPr>
          <p:cNvCxnSpPr>
            <a:cxnSpLocks/>
            <a:stCxn id="4" idx="0"/>
            <a:endCxn id="5" idx="1"/>
          </p:cNvCxnSpPr>
          <p:nvPr/>
        </p:nvCxnSpPr>
        <p:spPr>
          <a:xfrm rot="5400000" flipH="1" flipV="1">
            <a:off x="6794553" y="445764"/>
            <a:ext cx="1328215" cy="3455570"/>
          </a:xfrm>
          <a:prstGeom prst="bentConnector2">
            <a:avLst/>
          </a:prstGeom>
          <a:ln w="101600">
            <a:solidFill>
              <a:schemeClr val="tx1"/>
            </a:solidFill>
            <a:headEnd type="none"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D6FD677E-4549-4362-995C-3662A5E3ACED}"/>
              </a:ext>
            </a:extLst>
          </p:cNvPr>
          <p:cNvCxnSpPr>
            <a:cxnSpLocks/>
            <a:stCxn id="6" idx="1"/>
            <a:endCxn id="4" idx="3"/>
          </p:cNvCxnSpPr>
          <p:nvPr/>
        </p:nvCxnSpPr>
        <p:spPr>
          <a:xfrm flipH="1" flipV="1">
            <a:off x="6873875" y="3429000"/>
            <a:ext cx="2275470" cy="1"/>
          </a:xfrm>
          <a:prstGeom prst="straightConnector1">
            <a:avLst/>
          </a:prstGeom>
          <a:ln w="101600">
            <a:solidFill>
              <a:schemeClr val="tx1"/>
            </a:solidFill>
            <a:headEnd type="none" w="lg" len="med"/>
            <a:tailEnd type="triangle" w="med" len="sm"/>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A2FE32EC-9AD6-4532-95D7-0E91745560A7}"/>
              </a:ext>
            </a:extLst>
          </p:cNvPr>
          <p:cNvCxnSpPr>
            <a:cxnSpLocks/>
            <a:stCxn id="6" idx="2"/>
            <a:endCxn id="22" idx="3"/>
          </p:cNvCxnSpPr>
          <p:nvPr/>
        </p:nvCxnSpPr>
        <p:spPr>
          <a:xfrm rot="5400000">
            <a:off x="7793552" y="3173722"/>
            <a:ext cx="1579116" cy="3418470"/>
          </a:xfrm>
          <a:prstGeom prst="bentConnector2">
            <a:avLst/>
          </a:prstGeom>
          <a:ln w="101600">
            <a:solidFill>
              <a:schemeClr val="tx1"/>
            </a:solidFill>
            <a:headEnd type="none" w="med" len="sm"/>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CA7D0A82-D048-4983-841A-EFEB23C8892D}"/>
              </a:ext>
            </a:extLst>
          </p:cNvPr>
          <p:cNvCxnSpPr>
            <a:stCxn id="22" idx="0"/>
            <a:endCxn id="4" idx="2"/>
          </p:cNvCxnSpPr>
          <p:nvPr/>
        </p:nvCxnSpPr>
        <p:spPr>
          <a:xfrm flipV="1">
            <a:off x="5730875" y="4020343"/>
            <a:ext cx="0" cy="1060828"/>
          </a:xfrm>
          <a:prstGeom prst="straightConnector1">
            <a:avLst/>
          </a:prstGeom>
          <a:ln w="101600">
            <a:solidFill>
              <a:schemeClr val="tx1"/>
            </a:solidFill>
            <a:headEnd type="none" w="lg" len="med"/>
            <a:tailEnd type="triangle" w="med" len="sm"/>
          </a:ln>
        </p:spPr>
        <p:style>
          <a:lnRef idx="1">
            <a:schemeClr val="accent1"/>
          </a:lnRef>
          <a:fillRef idx="0">
            <a:schemeClr val="accent1"/>
          </a:fillRef>
          <a:effectRef idx="0">
            <a:schemeClr val="accent1"/>
          </a:effectRef>
          <a:fontRef idx="minor">
            <a:schemeClr val="tx1"/>
          </a:fontRef>
        </p:style>
      </p:cxnSp>
      <p:pic>
        <p:nvPicPr>
          <p:cNvPr id="73" name="Graphic 72" descr="Comment Like with solid fill">
            <a:extLst>
              <a:ext uri="{FF2B5EF4-FFF2-40B4-BE49-F238E27FC236}">
                <a16:creationId xmlns:a16="http://schemas.microsoft.com/office/drawing/2014/main" id="{C92004FD-9ED3-437B-AE80-7F36FB8316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41154" y="4882957"/>
            <a:ext cx="914400" cy="914400"/>
          </a:xfrm>
          <a:prstGeom prst="rect">
            <a:avLst/>
          </a:prstGeom>
        </p:spPr>
      </p:pic>
      <p:pic>
        <p:nvPicPr>
          <p:cNvPr id="75" name="Graphic 74" descr="Comment Dislike with solid fill">
            <a:extLst>
              <a:ext uri="{FF2B5EF4-FFF2-40B4-BE49-F238E27FC236}">
                <a16:creationId xmlns:a16="http://schemas.microsoft.com/office/drawing/2014/main" id="{0BB412C6-1E5C-4271-9B31-B9B4A17A472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18733" y="2618909"/>
            <a:ext cx="914400" cy="914400"/>
          </a:xfrm>
          <a:prstGeom prst="rect">
            <a:avLst/>
          </a:prstGeom>
        </p:spPr>
      </p:pic>
      <p:sp>
        <p:nvSpPr>
          <p:cNvPr id="7" name="TextBox 6">
            <a:extLst>
              <a:ext uri="{FF2B5EF4-FFF2-40B4-BE49-F238E27FC236}">
                <a16:creationId xmlns:a16="http://schemas.microsoft.com/office/drawing/2014/main" id="{7DEF8A5A-37E0-407B-9488-7C6F0FDCFB38}"/>
              </a:ext>
            </a:extLst>
          </p:cNvPr>
          <p:cNvSpPr txBox="1"/>
          <p:nvPr/>
        </p:nvSpPr>
        <p:spPr>
          <a:xfrm>
            <a:off x="7431531" y="3544732"/>
            <a:ext cx="1088804" cy="307777"/>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No</a:t>
            </a:r>
          </a:p>
        </p:txBody>
      </p:sp>
      <p:sp>
        <p:nvSpPr>
          <p:cNvPr id="8" name="TextBox 7">
            <a:extLst>
              <a:ext uri="{FF2B5EF4-FFF2-40B4-BE49-F238E27FC236}">
                <a16:creationId xmlns:a16="http://schemas.microsoft.com/office/drawing/2014/main" id="{4BEE56F2-4376-423A-82A2-409545CD4692}"/>
              </a:ext>
            </a:extLst>
          </p:cNvPr>
          <p:cNvSpPr txBox="1"/>
          <p:nvPr/>
        </p:nvSpPr>
        <p:spPr>
          <a:xfrm>
            <a:off x="8353952" y="5759516"/>
            <a:ext cx="1088804" cy="307777"/>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Yes</a:t>
            </a:r>
          </a:p>
        </p:txBody>
      </p:sp>
    </p:spTree>
    <p:custDataLst>
      <p:tags r:id="rId1"/>
    </p:custDataLst>
    <p:extLst>
      <p:ext uri="{BB962C8B-B14F-4D97-AF65-F5344CB8AC3E}">
        <p14:creationId xmlns:p14="http://schemas.microsoft.com/office/powerpoint/2010/main" val="3560094584"/>
      </p:ext>
    </p:extLst>
  </p:cSld>
  <p:clrMapOvr>
    <a:masterClrMapping/>
  </p:clrMapOvr>
  <p:transition spd="slow"/>
  <p:extLst>
    <p:ext uri="{6950BFC3-D8DA-4A85-94F7-54DA5524770B}">
      <p188:commentRel xmlns:p188="http://schemas.microsoft.com/office/powerpoint/2018/8/main" r:id="rId4"/>
    </p:ext>
  </p:extLst>
</p:sld>
</file>

<file path=ppt/slides/slide29.xml><?xml version="1.0" encoding="utf-8"?>
<p:sld xmlns:adec="http://schemas.microsoft.com/office/drawing/2017/decorative"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n-Terminating error handling flow</a:t>
            </a:r>
          </a:p>
        </p:txBody>
      </p:sp>
      <p:sp>
        <p:nvSpPr>
          <p:cNvPr id="7" name="Bent-Up Arrow 6">
            <a:extLst>
              <a:ext uri="{C183D7F6-B498-43B3-948B-1728B52AA6E4}">
                <adec:decorative xmlns:adec="http://schemas.microsoft.com/office/drawing/2017/decorative" val="1"/>
              </a:ext>
            </a:extLst>
          </p:cNvPr>
          <p:cNvSpPr/>
          <p:nvPr/>
        </p:nvSpPr>
        <p:spPr>
          <a:xfrm rot="5400000">
            <a:off x="1743559" y="2278212"/>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8" name="Freeform 7"/>
          <p:cNvSpPr/>
          <p:nvPr/>
        </p:nvSpPr>
        <p:spPr>
          <a:xfrm>
            <a:off x="655638" y="1408113"/>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uppress Error Messages {</a:t>
            </a:r>
            <a:r>
              <a:rPr kumimoji="0" lang="en-US" sz="2200" b="0" i="1"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optional)</a:t>
            </a:r>
            <a:endParaRPr kumimoji="0" lang="en-US" sz="2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9" name="Freeform 8"/>
          <p:cNvSpPr/>
          <p:nvPr/>
        </p:nvSpPr>
        <p:spPr>
          <a:xfrm>
            <a:off x="3863342" y="1491789"/>
            <a:ext cx="5280658" cy="709126"/>
          </a:xfrm>
          <a:custGeom>
            <a:avLst/>
            <a:gdLst>
              <a:gd name="connsiteX0" fmla="*/ 0 w 2658324"/>
              <a:gd name="connsiteY0" fmla="*/ 0 h 705222"/>
              <a:gd name="connsiteX1" fmla="*/ 2658324 w 2658324"/>
              <a:gd name="connsiteY1" fmla="*/ 0 h 705222"/>
              <a:gd name="connsiteX2" fmla="*/ 2658324 w 2658324"/>
              <a:gd name="connsiteY2" fmla="*/ 705222 h 705222"/>
              <a:gd name="connsiteX3" fmla="*/ 0 w 2658324"/>
              <a:gd name="connsiteY3" fmla="*/ 705222 h 705222"/>
              <a:gd name="connsiteX4" fmla="*/ 0 w 2658324"/>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324" h="705222">
                <a:moveTo>
                  <a:pt x="0" y="0"/>
                </a:moveTo>
                <a:lnTo>
                  <a:pt x="2658324" y="0"/>
                </a:lnTo>
                <a:lnTo>
                  <a:pt x="2658324"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rPr>
              <a:t>$</a:t>
            </a:r>
            <a:r>
              <a:rPr kumimoji="0" lang="en-US" sz="20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Light" panose="020B0502040204020203" pitchFamily="34" charset="0"/>
              </a:rPr>
              <a:t>ErrorActionPreference</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rPr>
              <a:t> = </a:t>
            </a:r>
            <a:r>
              <a:rPr kumimoji="0" lang="en-US" sz="20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Light" panose="020B0502040204020203" pitchFamily="34" charset="0"/>
              </a:rPr>
              <a:t>SilentlyContinue</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 name="Bent-Up Arrow 9">
            <a:extLst>
              <a:ext uri="{C183D7F6-B498-43B3-948B-1728B52AA6E4}">
                <adec:decorative xmlns:adec="http://schemas.microsoft.com/office/drawing/2017/decorative" val="1"/>
              </a:ext>
            </a:extLst>
          </p:cNvPr>
          <p:cNvSpPr/>
          <p:nvPr/>
        </p:nvSpPr>
        <p:spPr>
          <a:xfrm rot="5400000">
            <a:off x="3596648" y="3263783"/>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1" name="Freeform 10"/>
          <p:cNvSpPr/>
          <p:nvPr/>
        </p:nvSpPr>
        <p:spPr>
          <a:xfrm>
            <a:off x="2508725" y="2393683"/>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rror and/or Success Occurs</a:t>
            </a:r>
          </a:p>
        </p:txBody>
      </p:sp>
      <p:sp>
        <p:nvSpPr>
          <p:cNvPr id="12" name="Freeform 11"/>
          <p:cNvSpPr/>
          <p:nvPr/>
        </p:nvSpPr>
        <p:spPr>
          <a:xfrm>
            <a:off x="5755191" y="2477361"/>
            <a:ext cx="2516504" cy="709126"/>
          </a:xfrm>
          <a:custGeom>
            <a:avLst/>
            <a:gdLst>
              <a:gd name="connsiteX0" fmla="*/ 0 w 2658324"/>
              <a:gd name="connsiteY0" fmla="*/ 0 h 705222"/>
              <a:gd name="connsiteX1" fmla="*/ 2658324 w 2658324"/>
              <a:gd name="connsiteY1" fmla="*/ 0 h 705222"/>
              <a:gd name="connsiteX2" fmla="*/ 2658324 w 2658324"/>
              <a:gd name="connsiteY2" fmla="*/ 705222 h 705222"/>
              <a:gd name="connsiteX3" fmla="*/ 0 w 2658324"/>
              <a:gd name="connsiteY3" fmla="*/ 705222 h 705222"/>
              <a:gd name="connsiteX4" fmla="*/ 0 w 2658324"/>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324" h="705222">
                <a:moveTo>
                  <a:pt x="0" y="0"/>
                </a:moveTo>
                <a:lnTo>
                  <a:pt x="2658324" y="0"/>
                </a:lnTo>
                <a:lnTo>
                  <a:pt x="2658324"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rPr>
              <a:t>Non-Terminating</a:t>
            </a:r>
          </a:p>
        </p:txBody>
      </p:sp>
      <p:sp>
        <p:nvSpPr>
          <p:cNvPr id="13" name="Bent-Up Arrow 12">
            <a:extLst>
              <a:ext uri="{C183D7F6-B498-43B3-948B-1728B52AA6E4}">
                <adec:decorative xmlns:adec="http://schemas.microsoft.com/office/drawing/2017/decorative" val="1"/>
              </a:ext>
            </a:extLst>
          </p:cNvPr>
          <p:cNvSpPr/>
          <p:nvPr/>
        </p:nvSpPr>
        <p:spPr>
          <a:xfrm rot="5400000">
            <a:off x="5449736" y="4249355"/>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4" name="Freeform 13"/>
          <p:cNvSpPr/>
          <p:nvPr/>
        </p:nvSpPr>
        <p:spPr>
          <a:xfrm>
            <a:off x="4361812" y="3379254"/>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heck if we had error</a:t>
            </a:r>
          </a:p>
        </p:txBody>
      </p:sp>
      <p:sp>
        <p:nvSpPr>
          <p:cNvPr id="15" name="Freeform 14"/>
          <p:cNvSpPr/>
          <p:nvPr/>
        </p:nvSpPr>
        <p:spPr>
          <a:xfrm>
            <a:off x="7659959" y="3462932"/>
            <a:ext cx="3166414" cy="709126"/>
          </a:xfrm>
          <a:custGeom>
            <a:avLst/>
            <a:gdLst>
              <a:gd name="connsiteX0" fmla="*/ 0 w 2658324"/>
              <a:gd name="connsiteY0" fmla="*/ 0 h 705222"/>
              <a:gd name="connsiteX1" fmla="*/ 2658324 w 2658324"/>
              <a:gd name="connsiteY1" fmla="*/ 0 h 705222"/>
              <a:gd name="connsiteX2" fmla="*/ 2658324 w 2658324"/>
              <a:gd name="connsiteY2" fmla="*/ 705222 h 705222"/>
              <a:gd name="connsiteX3" fmla="*/ 0 w 2658324"/>
              <a:gd name="connsiteY3" fmla="*/ 705222 h 705222"/>
              <a:gd name="connsiteX4" fmla="*/ 0 w 2658324"/>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324" h="705222">
                <a:moveTo>
                  <a:pt x="0" y="0"/>
                </a:moveTo>
                <a:lnTo>
                  <a:pt x="2658324" y="0"/>
                </a:lnTo>
                <a:lnTo>
                  <a:pt x="2658324"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rPr>
              <a:t>$?, $Error, $</a:t>
            </a:r>
            <a:r>
              <a:rPr kumimoji="0" lang="en-US" sz="20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Light" panose="020B0502040204020203" pitchFamily="34" charset="0"/>
              </a:rPr>
              <a:t>LastExitCode</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rPr>
              <a:t>, ErrorVariable</a:t>
            </a:r>
          </a:p>
        </p:txBody>
      </p:sp>
      <p:sp>
        <p:nvSpPr>
          <p:cNvPr id="16" name="Bent-Up Arrow 15">
            <a:extLst>
              <a:ext uri="{C183D7F6-B498-43B3-948B-1728B52AA6E4}">
                <adec:decorative xmlns:adec="http://schemas.microsoft.com/office/drawing/2017/decorative" val="1"/>
              </a:ext>
            </a:extLst>
          </p:cNvPr>
          <p:cNvSpPr/>
          <p:nvPr/>
        </p:nvSpPr>
        <p:spPr>
          <a:xfrm rot="5400000">
            <a:off x="7302824" y="5234926"/>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7" name="Freeform 16"/>
          <p:cNvSpPr/>
          <p:nvPr/>
        </p:nvSpPr>
        <p:spPr>
          <a:xfrm>
            <a:off x="6214900" y="4364826"/>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Run Error Handler Code</a:t>
            </a:r>
          </a:p>
        </p:txBody>
      </p:sp>
      <p:sp>
        <p:nvSpPr>
          <p:cNvPr id="18" name="Freeform 17"/>
          <p:cNvSpPr/>
          <p:nvPr/>
        </p:nvSpPr>
        <p:spPr>
          <a:xfrm>
            <a:off x="9381314" y="4434780"/>
            <a:ext cx="2505885" cy="709126"/>
          </a:xfrm>
          <a:custGeom>
            <a:avLst/>
            <a:gdLst>
              <a:gd name="connsiteX0" fmla="*/ 0 w 1617977"/>
              <a:gd name="connsiteY0" fmla="*/ 0 h 705222"/>
              <a:gd name="connsiteX1" fmla="*/ 1617977 w 1617977"/>
              <a:gd name="connsiteY1" fmla="*/ 0 h 705222"/>
              <a:gd name="connsiteX2" fmla="*/ 1617977 w 1617977"/>
              <a:gd name="connsiteY2" fmla="*/ 705222 h 705222"/>
              <a:gd name="connsiteX3" fmla="*/ 0 w 1617977"/>
              <a:gd name="connsiteY3" fmla="*/ 705222 h 705222"/>
              <a:gd name="connsiteX4" fmla="*/ 0 w 1617977"/>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977" h="705222">
                <a:moveTo>
                  <a:pt x="0" y="0"/>
                </a:moveTo>
                <a:lnTo>
                  <a:pt x="1617977" y="0"/>
                </a:lnTo>
                <a:lnTo>
                  <a:pt x="1617977"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Light" panose="020B0502040204020203" pitchFamily="34" charset="0"/>
              </a:rPr>
              <a:t>Log File, Custom Message, etc.</a:t>
            </a:r>
          </a:p>
        </p:txBody>
      </p:sp>
      <p:sp>
        <p:nvSpPr>
          <p:cNvPr id="19" name="Freeform 18"/>
          <p:cNvSpPr/>
          <p:nvPr/>
        </p:nvSpPr>
        <p:spPr>
          <a:xfrm>
            <a:off x="8067987" y="5350397"/>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tinue with rest of  normal code</a:t>
            </a:r>
          </a:p>
        </p:txBody>
      </p:sp>
    </p:spTree>
    <p:custDataLst>
      <p:tags r:id="rId1"/>
    </p:custDataLst>
    <p:extLst>
      <p:ext uri="{BB962C8B-B14F-4D97-AF65-F5344CB8AC3E}">
        <p14:creationId xmlns:p14="http://schemas.microsoft.com/office/powerpoint/2010/main" val="11110061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animBg="1"/>
      <p:bldP spid="12" grpId="0"/>
      <p:bldP spid="14" grpId="0" animBg="1"/>
      <p:bldP spid="15" grpId="0"/>
      <p:bldP spid="17" grpId="0" animBg="1"/>
      <p:bldP spid="18" grpId="0"/>
      <p:bldP spid="19" grpId="0" animBg="1"/>
    </p:bldLst>
  </p:timing>
  <p:extLst>
    <p:ext uri="{6950BFC3-D8DA-4A85-94F7-54DA5524770B}">
      <p188:commentRel xmlns:p188="http://schemas.microsoft.com/office/powerpoint/2018/8/main" r:id="rId4"/>
    </p:ext>
  </p:extLst>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Learnings covered:</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571500" indent="-571500">
              <a:buFont typeface="Arial" panose="020B0604020202020204" pitchFamily="34" charset="0"/>
              <a:buChar char="•"/>
            </a:pPr>
            <a:r>
              <a:rPr lang="en-US"/>
              <a:t>Streams</a:t>
            </a:r>
          </a:p>
          <a:p>
            <a:pPr marL="571500" indent="-571500">
              <a:buFont typeface="Arial" panose="020B0604020202020204" pitchFamily="34" charset="0"/>
              <a:buChar char="•"/>
            </a:pPr>
            <a:r>
              <a:rPr lang="en-US"/>
              <a:t>Introduction to Error Handling</a:t>
            </a:r>
          </a:p>
          <a:p>
            <a:pPr marL="571500" indent="-571500">
              <a:buFont typeface="Arial" panose="020B0604020202020204" pitchFamily="34" charset="0"/>
              <a:buChar char="•"/>
            </a:pPr>
            <a:r>
              <a:rPr lang="en-US"/>
              <a:t>Working with </a:t>
            </a:r>
            <a:r>
              <a:rPr lang="en-US" err="1"/>
              <a:t>ErrorRecord</a:t>
            </a:r>
            <a:r>
              <a:rPr lang="en-US"/>
              <a:t> Object</a:t>
            </a:r>
          </a:p>
          <a:p>
            <a:pPr marL="571500" indent="-571500">
              <a:buFont typeface="Arial" panose="020B0604020202020204" pitchFamily="34" charset="0"/>
              <a:buChar char="•"/>
            </a:pPr>
            <a:r>
              <a:rPr lang="en-US"/>
              <a:t>Non-Terminating Errors</a:t>
            </a:r>
          </a:p>
          <a:p>
            <a:pPr marL="571500" indent="-571500">
              <a:buFont typeface="Arial" panose="020B0604020202020204" pitchFamily="34" charset="0"/>
              <a:buChar char="•"/>
            </a:pPr>
            <a:r>
              <a:rPr lang="en-US"/>
              <a:t>Introduction to Terminating Errors</a:t>
            </a:r>
          </a:p>
          <a:p>
            <a:pPr marL="571500" indent="-571500">
              <a:buFont typeface="Arial" panose="020B0604020202020204" pitchFamily="34" charset="0"/>
              <a:buChar char="•"/>
            </a:pPr>
            <a:r>
              <a:rPr lang="en-US"/>
              <a:t>Catching Terminating Errors using Trap</a:t>
            </a:r>
          </a:p>
          <a:p>
            <a:pPr marL="571500" indent="-571500">
              <a:buFont typeface="Arial" panose="020B0604020202020204" pitchFamily="34" charset="0"/>
              <a:buChar char="•"/>
            </a:pPr>
            <a:r>
              <a:rPr lang="en-US"/>
              <a:t>Catching Terminating Errors Try {} Catch {} Finally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973874537"/>
      </p:ext>
    </p:extLst>
  </p:cSld>
  <p:clrMapOvr>
    <a:masterClrMapping/>
  </p:clrMapOvr>
  <p:transition spd="slow"/>
  <p:extLst>
    <p:ext uri="{6950BFC3-D8DA-4A85-94F7-54DA5524770B}">
      <p188:commentRel xmlns:p188="http://schemas.microsoft.com/office/powerpoint/2018/8/main" r:id="rId7"/>
    </p:ext>
  </p:extLst>
</p:sld>
</file>

<file path=ppt/slides/slide31.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on-Terminating error handling flow</a:t>
            </a:r>
          </a:p>
        </p:txBody>
      </p:sp>
      <p:sp>
        <p:nvSpPr>
          <p:cNvPr id="3" name="Flowchart: Preparation 2">
            <a:extLst>
              <a:ext uri="{FF2B5EF4-FFF2-40B4-BE49-F238E27FC236}">
                <a16:creationId xmlns:a16="http://schemas.microsoft.com/office/drawing/2014/main" id="{5D7DFDC2-9070-4DB0-AF0B-A6F3BCFD7896}"/>
              </a:ext>
            </a:extLst>
          </p:cNvPr>
          <p:cNvSpPr/>
          <p:nvPr/>
        </p:nvSpPr>
        <p:spPr bwMode="auto">
          <a:xfrm>
            <a:off x="588168" y="990600"/>
            <a:ext cx="3243264" cy="1182687"/>
          </a:xfrm>
          <a:prstGeom prst="flowChartPreparation">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uppress error messages </a:t>
            </a:r>
            <a:r>
              <a:rPr lang="en-US" sz="2000" i="1">
                <a:gradFill>
                  <a:gsLst>
                    <a:gs pos="0">
                      <a:srgbClr val="FFFFFF"/>
                    </a:gs>
                    <a:gs pos="100000">
                      <a:srgbClr val="FFFFFF"/>
                    </a:gs>
                  </a:gsLst>
                  <a:lin ang="5400000" scaled="0"/>
                </a:gradFill>
                <a:ea typeface="Segoe UI" pitchFamily="34" charset="0"/>
                <a:cs typeface="Segoe UI" pitchFamily="34" charset="0"/>
              </a:rPr>
              <a:t>(optional)</a:t>
            </a:r>
          </a:p>
        </p:txBody>
      </p:sp>
      <p:sp>
        <p:nvSpPr>
          <p:cNvPr id="4" name="Flowchart: Process 3">
            <a:extLst>
              <a:ext uri="{FF2B5EF4-FFF2-40B4-BE49-F238E27FC236}">
                <a16:creationId xmlns:a16="http://schemas.microsoft.com/office/drawing/2014/main" id="{ACF473D4-13E8-498E-9E36-3A53D24E0E49}"/>
              </a:ext>
            </a:extLst>
          </p:cNvPr>
          <p:cNvSpPr/>
          <p:nvPr/>
        </p:nvSpPr>
        <p:spPr bwMode="auto">
          <a:xfrm>
            <a:off x="5195309" y="979249"/>
            <a:ext cx="2286000" cy="1182687"/>
          </a:xfrm>
          <a:prstGeom prst="flowChartProcess">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ea typeface="Segoe UI" pitchFamily="34" charset="0"/>
                <a:cs typeface="Segoe UI" pitchFamily="34" charset="0"/>
              </a:rPr>
              <a:t>Run Code</a:t>
            </a:r>
          </a:p>
        </p:txBody>
      </p:sp>
      <p:sp>
        <p:nvSpPr>
          <p:cNvPr id="5" name="Flowchart: Process 4">
            <a:extLst>
              <a:ext uri="{FF2B5EF4-FFF2-40B4-BE49-F238E27FC236}">
                <a16:creationId xmlns:a16="http://schemas.microsoft.com/office/drawing/2014/main" id="{C5B82EAC-A7C5-4EF4-B27E-3920FA375F5C}"/>
              </a:ext>
            </a:extLst>
          </p:cNvPr>
          <p:cNvSpPr/>
          <p:nvPr/>
        </p:nvSpPr>
        <p:spPr bwMode="auto">
          <a:xfrm>
            <a:off x="5192098" y="3128616"/>
            <a:ext cx="2286000" cy="1182687"/>
          </a:xfrm>
          <a:prstGeom prst="flowChartProcess">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heck for errors</a:t>
            </a:r>
          </a:p>
        </p:txBody>
      </p:sp>
      <p:sp>
        <p:nvSpPr>
          <p:cNvPr id="6" name="Flowchart: Decision 5">
            <a:extLst>
              <a:ext uri="{FF2B5EF4-FFF2-40B4-BE49-F238E27FC236}">
                <a16:creationId xmlns:a16="http://schemas.microsoft.com/office/drawing/2014/main" id="{B653218E-2448-4F26-BB6B-0D695142DA52}"/>
              </a:ext>
            </a:extLst>
          </p:cNvPr>
          <p:cNvSpPr/>
          <p:nvPr/>
        </p:nvSpPr>
        <p:spPr bwMode="auto">
          <a:xfrm>
            <a:off x="9048750" y="3072137"/>
            <a:ext cx="2286000" cy="1328797"/>
          </a:xfrm>
          <a:prstGeom prst="flowChartDecisi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Handle error?</a:t>
            </a:r>
          </a:p>
        </p:txBody>
      </p:sp>
      <p:sp>
        <p:nvSpPr>
          <p:cNvPr id="22" name="Flowchart: Process 21">
            <a:extLst>
              <a:ext uri="{FF2B5EF4-FFF2-40B4-BE49-F238E27FC236}">
                <a16:creationId xmlns:a16="http://schemas.microsoft.com/office/drawing/2014/main" id="{9A6D8951-34AF-4661-AEF6-10BE78E67643}"/>
              </a:ext>
            </a:extLst>
          </p:cNvPr>
          <p:cNvSpPr/>
          <p:nvPr/>
        </p:nvSpPr>
        <p:spPr bwMode="auto">
          <a:xfrm>
            <a:off x="5199192" y="5201891"/>
            <a:ext cx="2286000" cy="1182687"/>
          </a:xfrm>
          <a:prstGeom prst="flowChartProcess">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chemeClr val="bg1"/>
                </a:solidFill>
                <a:ea typeface="Segoe UI" pitchFamily="34" charset="0"/>
                <a:cs typeface="Segoe UI" pitchFamily="34" charset="0"/>
              </a:rPr>
              <a:t>Error handling code</a:t>
            </a:r>
          </a:p>
        </p:txBody>
      </p:sp>
      <p:cxnSp>
        <p:nvCxnSpPr>
          <p:cNvPr id="24" name="Connector: Elbow 23">
            <a:extLst>
              <a:ext uri="{FF2B5EF4-FFF2-40B4-BE49-F238E27FC236}">
                <a16:creationId xmlns:a16="http://schemas.microsoft.com/office/drawing/2014/main" id="{BBDD137D-5EB3-4CB8-91AF-26910762D641}"/>
              </a:ext>
            </a:extLst>
          </p:cNvPr>
          <p:cNvCxnSpPr>
            <a:cxnSpLocks/>
          </p:cNvCxnSpPr>
          <p:nvPr/>
        </p:nvCxnSpPr>
        <p:spPr>
          <a:xfrm rot="16200000" flipV="1">
            <a:off x="8026875" y="1037727"/>
            <a:ext cx="1612888" cy="2716424"/>
          </a:xfrm>
          <a:prstGeom prst="bentConnector2">
            <a:avLst/>
          </a:prstGeom>
          <a:ln w="7620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90D753E7-BE16-4030-98E6-A79C93867CAC}"/>
              </a:ext>
            </a:extLst>
          </p:cNvPr>
          <p:cNvCxnSpPr>
            <a:cxnSpLocks/>
            <a:stCxn id="6" idx="2"/>
          </p:cNvCxnSpPr>
          <p:nvPr/>
        </p:nvCxnSpPr>
        <p:spPr>
          <a:xfrm rot="5400000">
            <a:off x="8121511" y="3785843"/>
            <a:ext cx="1455149" cy="2685331"/>
          </a:xfrm>
          <a:prstGeom prst="bentConnector2">
            <a:avLst/>
          </a:prstGeom>
          <a:ln w="7620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0616FDB-99E1-460F-809F-C0895FD7DD71}"/>
              </a:ext>
            </a:extLst>
          </p:cNvPr>
          <p:cNvCxnSpPr>
            <a:cxnSpLocks/>
            <a:stCxn id="22" idx="1"/>
          </p:cNvCxnSpPr>
          <p:nvPr/>
        </p:nvCxnSpPr>
        <p:spPr>
          <a:xfrm rot="10800000">
            <a:off x="4306690" y="1585159"/>
            <a:ext cx="892503" cy="4208076"/>
          </a:xfrm>
          <a:prstGeom prst="bentConnector2">
            <a:avLst/>
          </a:prstGeom>
          <a:ln w="76200">
            <a:solidFill>
              <a:schemeClr val="tx1"/>
            </a:solidFill>
            <a:headEnd type="none" w="lg" len="med"/>
            <a:tailEnd type="triangle" w="lg" len="lg"/>
          </a:ln>
        </p:spPr>
        <p:style>
          <a:lnRef idx="3">
            <a:schemeClr val="accent5"/>
          </a:lnRef>
          <a:fillRef idx="0">
            <a:schemeClr val="accent5"/>
          </a:fillRef>
          <a:effectRef idx="2">
            <a:schemeClr val="accent5"/>
          </a:effectRef>
          <a:fontRef idx="minor">
            <a:schemeClr val="tx1"/>
          </a:fontRef>
        </p:style>
      </p:cxnSp>
      <p:cxnSp>
        <p:nvCxnSpPr>
          <p:cNvPr id="46" name="Straight Arrow Connector 45">
            <a:extLst>
              <a:ext uri="{FF2B5EF4-FFF2-40B4-BE49-F238E27FC236}">
                <a16:creationId xmlns:a16="http://schemas.microsoft.com/office/drawing/2014/main" id="{F04A19A5-7DD6-4C29-91F7-E7EC7B96AD72}"/>
              </a:ext>
            </a:extLst>
          </p:cNvPr>
          <p:cNvCxnSpPr>
            <a:cxnSpLocks/>
            <a:stCxn id="3" idx="3"/>
            <a:endCxn id="4" idx="1"/>
          </p:cNvCxnSpPr>
          <p:nvPr/>
        </p:nvCxnSpPr>
        <p:spPr>
          <a:xfrm flipV="1">
            <a:off x="3831432" y="1570593"/>
            <a:ext cx="1363877" cy="11351"/>
          </a:xfrm>
          <a:prstGeom prst="straightConnector1">
            <a:avLst/>
          </a:prstGeom>
          <a:ln w="7620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5348538-3537-4172-A298-B1A0C13E8472}"/>
              </a:ext>
            </a:extLst>
          </p:cNvPr>
          <p:cNvCxnSpPr>
            <a:cxnSpLocks/>
          </p:cNvCxnSpPr>
          <p:nvPr/>
        </p:nvCxnSpPr>
        <p:spPr>
          <a:xfrm>
            <a:off x="6311451" y="2173287"/>
            <a:ext cx="0" cy="961135"/>
          </a:xfrm>
          <a:prstGeom prst="straightConnector1">
            <a:avLst/>
          </a:prstGeom>
          <a:ln w="7620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6C16418-4C60-4BD6-B185-75CB4BE395EF}"/>
              </a:ext>
            </a:extLst>
          </p:cNvPr>
          <p:cNvCxnSpPr>
            <a:cxnSpLocks/>
            <a:stCxn id="5" idx="3"/>
            <a:endCxn id="6" idx="1"/>
          </p:cNvCxnSpPr>
          <p:nvPr/>
        </p:nvCxnSpPr>
        <p:spPr>
          <a:xfrm>
            <a:off x="7478098" y="3719960"/>
            <a:ext cx="1570652" cy="16576"/>
          </a:xfrm>
          <a:prstGeom prst="straightConnector1">
            <a:avLst/>
          </a:prstGeom>
          <a:ln w="76200">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7" name="Arrow: Up 6">
            <a:extLst>
              <a:ext uri="{FF2B5EF4-FFF2-40B4-BE49-F238E27FC236}">
                <a16:creationId xmlns:a16="http://schemas.microsoft.com/office/drawing/2014/main" id="{2696E2CF-A96C-44C0-8BA1-1CCAC3158EC1}"/>
              </a:ext>
            </a:extLst>
          </p:cNvPr>
          <p:cNvSpPr/>
          <p:nvPr/>
        </p:nvSpPr>
        <p:spPr bwMode="auto">
          <a:xfrm>
            <a:off x="9497495" y="1939089"/>
            <a:ext cx="1380744" cy="1161288"/>
          </a:xfrm>
          <a:prstGeom prst="upArrow">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gradFill>
                  <a:gsLst>
                    <a:gs pos="0">
                      <a:srgbClr val="FFFFFF"/>
                    </a:gs>
                    <a:gs pos="100000">
                      <a:srgbClr val="FFFFFF"/>
                    </a:gs>
                  </a:gsLst>
                  <a:lin ang="5400000" scaled="0"/>
                </a:gradFill>
                <a:ea typeface="Segoe UI" pitchFamily="34" charset="0"/>
                <a:cs typeface="Segoe UI" pitchFamily="34" charset="0"/>
              </a:rPr>
              <a:t>NO</a:t>
            </a:r>
          </a:p>
        </p:txBody>
      </p:sp>
      <p:sp>
        <p:nvSpPr>
          <p:cNvPr id="8" name="Arrow: Down 7">
            <a:extLst>
              <a:ext uri="{FF2B5EF4-FFF2-40B4-BE49-F238E27FC236}">
                <a16:creationId xmlns:a16="http://schemas.microsoft.com/office/drawing/2014/main" id="{8407C53F-8B65-42B0-ACA2-31C86004400A}"/>
              </a:ext>
            </a:extLst>
          </p:cNvPr>
          <p:cNvSpPr/>
          <p:nvPr/>
        </p:nvSpPr>
        <p:spPr bwMode="auto">
          <a:xfrm>
            <a:off x="9524004" y="4400934"/>
            <a:ext cx="1377950" cy="1157672"/>
          </a:xfrm>
          <a:prstGeom prst="down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gradFill>
                  <a:gsLst>
                    <a:gs pos="0">
                      <a:srgbClr val="FFFFFF"/>
                    </a:gs>
                    <a:gs pos="100000">
                      <a:srgbClr val="FFFFFF"/>
                    </a:gs>
                  </a:gsLst>
                  <a:lin ang="5400000" scaled="0"/>
                </a:gradFill>
                <a:ea typeface="Segoe UI" pitchFamily="34" charset="0"/>
                <a:cs typeface="Segoe UI" pitchFamily="34" charset="0"/>
              </a:rPr>
              <a:t>YES</a:t>
            </a:r>
          </a:p>
        </p:txBody>
      </p:sp>
    </p:spTree>
    <p:custDataLst>
      <p:tags r:id="rId1"/>
    </p:custDataLst>
    <p:extLst>
      <p:ext uri="{BB962C8B-B14F-4D97-AF65-F5344CB8AC3E}">
        <p14:creationId xmlns:p14="http://schemas.microsoft.com/office/powerpoint/2010/main" val="2615805026"/>
      </p:ext>
    </p:extLst>
  </p:cSld>
  <p:clrMapOvr>
    <a:masterClrMapping/>
  </p:clrMapOvr>
  <p:transition spd="slow"/>
  <p:extLst>
    <p:ext uri="{6950BFC3-D8DA-4A85-94F7-54DA5524770B}">
      <p188:commentRel xmlns:p188="http://schemas.microsoft.com/office/powerpoint/2018/8/main" r:id="rId4"/>
    </p:ext>
  </p:extLst>
</p:sld>
</file>

<file path=ppt/slides/slide3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Non-Terminating Errors</a:t>
            </a:r>
          </a:p>
        </p:txBody>
      </p:sp>
      <p:pic>
        <p:nvPicPr>
          <p:cNvPr id="5" name="Demo 01" descr="A person standing in front of a screen.">
            <a:extLst>
              <a:ext uri="{FF2B5EF4-FFF2-40B4-BE49-F238E27FC236}">
                <a16:creationId xmlns:a16="http://schemas.microsoft.com/office/drawing/2014/main" id="{2C5AD97B-5923-4FFD-BF11-EA9379DDF21D}"/>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399022257"/>
      </p:ext>
    </p:extLst>
  </p:cSld>
  <p:clrMapOvr>
    <a:masterClrMapping/>
  </p:clrMapOvr>
  <p:transition spd="slow"/>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901504961"/>
      </p:ext>
    </p:extLst>
  </p:cSld>
  <p:clrMapOvr>
    <a:masterClrMapping/>
  </p:clrMapOvr>
  <p:transition spd="slow"/>
</p:sld>
</file>

<file path=ppt/slides/slide34.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name="HIDDEN - Slide1758">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Introduction to Terminating Errors</a:t>
            </a:r>
          </a:p>
        </p:txBody>
      </p:sp>
    </p:spTree>
    <p:custDataLst>
      <p:tags r:id="rId1"/>
    </p:custDataLst>
    <p:extLst>
      <p:ext uri="{BB962C8B-B14F-4D97-AF65-F5344CB8AC3E}">
        <p14:creationId xmlns:p14="http://schemas.microsoft.com/office/powerpoint/2010/main" val="3945459430"/>
      </p:ext>
    </p:extLst>
  </p:cSld>
  <p:clrMapOvr>
    <a:masterClrMapping/>
  </p:clrMapOvr>
  <p:transition spd="slow"/>
  <p:extLst>
    <p:ext uri="{6950BFC3-D8DA-4A85-94F7-54DA5524770B}">
      <p188:commentRel xmlns:p188="http://schemas.microsoft.com/office/powerpoint/2018/8/main" r:id="rId5"/>
    </p:ext>
  </p:extLst>
</p:sld>
</file>

<file path=ppt/slides/slide3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rminating Errors</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1184772843"/>
              </p:ext>
            </p:extLst>
          </p:nvPr>
        </p:nvGraphicFramePr>
        <p:xfrm>
          <a:off x="655638" y="914400"/>
          <a:ext cx="10880725" cy="56235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39331305"/>
      </p:ext>
    </p:extLst>
  </p:cSld>
  <p:clrMapOvr>
    <a:masterClrMapping/>
  </p:clrMapOvr>
  <p:transition spd="slow"/>
</p:sld>
</file>

<file path=ppt/slides/slide37.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63977-4617-413B-86F5-7E49C225DAD0}"/>
              </a:ext>
            </a:extLst>
          </p:cNvPr>
          <p:cNvSpPr>
            <a:spLocks noGrp="1"/>
          </p:cNvSpPr>
          <p:nvPr>
            <p:ph type="title"/>
          </p:nvPr>
        </p:nvSpPr>
        <p:spPr/>
        <p:txBody>
          <a:bodyPr/>
          <a:lstStyle/>
          <a:p>
            <a:r>
              <a:rPr lang="en-US"/>
              <a:t>Throw</a:t>
            </a:r>
          </a:p>
        </p:txBody>
      </p:sp>
      <p:sp>
        <p:nvSpPr>
          <p:cNvPr id="11" name="Rectangle 10">
            <a:extLst>
              <a:ext uri="{FF2B5EF4-FFF2-40B4-BE49-F238E27FC236}">
                <a16:creationId xmlns:a16="http://schemas.microsoft.com/office/drawing/2014/main" id="{FB597160-591E-425E-86D2-FD62313F1471}"/>
              </a:ext>
            </a:extLst>
          </p:cNvPr>
          <p:cNvSpPr/>
          <p:nvPr/>
        </p:nvSpPr>
        <p:spPr>
          <a:xfrm>
            <a:off x="698499" y="2614715"/>
            <a:ext cx="10795002" cy="3946538"/>
          </a:xfrm>
          <a:prstGeom prst="rect">
            <a:avLst/>
          </a:prstGeom>
          <a:solidFill>
            <a:srgbClr val="012456"/>
          </a:solidFill>
          <a:ln>
            <a:solidFill>
              <a:srgbClr val="012456"/>
            </a:solidFill>
          </a:ln>
        </p:spPr>
        <p:txBody>
          <a:bodyPr wrap="square">
            <a:noAutofit/>
          </a:bodyPr>
          <a:lstStyle/>
          <a:p>
            <a:r>
              <a:rPr lang="en-US">
                <a:solidFill>
                  <a:srgbClr val="F5F5F5"/>
                </a:solidFill>
                <a:latin typeface="Lucida Console" panose="020B0609040504020204" pitchFamily="49" charset="0"/>
              </a:rPr>
              <a:t>PS C:\&gt; </a:t>
            </a:r>
            <a:r>
              <a:rPr lang="en-US"/>
              <a:t> </a:t>
            </a:r>
            <a:r>
              <a:rPr lang="en-US">
                <a:solidFill>
                  <a:srgbClr val="E0FFFF"/>
                </a:solidFill>
                <a:latin typeface="Lucida Console" panose="020B0609040504020204" pitchFamily="49" charset="0"/>
              </a:rPr>
              <a:t>function</a:t>
            </a:r>
            <a:r>
              <a:rPr lang="en-US">
                <a:solidFill>
                  <a:srgbClr val="F5F5F5"/>
                </a:solidFill>
                <a:latin typeface="Lucida Console" panose="020B0609040504020204" pitchFamily="49" charset="0"/>
              </a:rPr>
              <a:t> </a:t>
            </a:r>
            <a:r>
              <a:rPr lang="en-US" err="1">
                <a:solidFill>
                  <a:srgbClr val="EE82EE"/>
                </a:solidFill>
                <a:latin typeface="Lucida Console" panose="020B0609040504020204" pitchFamily="49" charset="0"/>
              </a:rPr>
              <a:t>ThrowExample</a:t>
            </a:r>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Line BEFORE the terminating error'</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Throw</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This is my custom terminating error'</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Line AFTER the throw'</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PS C:\&gt; </a:t>
            </a:r>
            <a:r>
              <a:rPr lang="en-US" err="1">
                <a:solidFill>
                  <a:srgbClr val="E0FFFF"/>
                </a:solidFill>
                <a:latin typeface="Lucida Console" panose="020B0609040504020204" pitchFamily="49" charset="0"/>
              </a:rPr>
              <a:t>ThrowExample</a:t>
            </a:r>
            <a:r>
              <a:rPr lang="en-US">
                <a:solidFill>
                  <a:srgbClr val="E0FFFF"/>
                </a:solidFill>
                <a:latin typeface="Lucida Console" panose="020B0609040504020204" pitchFamily="49" charset="0"/>
              </a:rPr>
              <a:t> </a:t>
            </a:r>
          </a:p>
          <a:p>
            <a:r>
              <a:rPr lang="en-US">
                <a:solidFill>
                  <a:srgbClr val="F5F5F5"/>
                </a:solidFill>
                <a:latin typeface="Lucida Console" panose="020B0609040504020204" pitchFamily="49" charset="0"/>
              </a:rPr>
              <a:t>Line BEFORE the terminating error</a:t>
            </a:r>
          </a:p>
          <a:p>
            <a:r>
              <a:rPr lang="en-US">
                <a:solidFill>
                  <a:srgbClr val="FF4500"/>
                </a:solidFill>
                <a:latin typeface="Lucida Console" panose="020B0609040504020204" pitchFamily="49" charset="0"/>
              </a:rPr>
              <a:t>This is my custom terminating error</a:t>
            </a:r>
          </a:p>
          <a:p>
            <a:r>
              <a:rPr lang="en-US">
                <a:solidFill>
                  <a:srgbClr val="FF4500"/>
                </a:solidFill>
                <a:latin typeface="Lucida Console" panose="020B0609040504020204" pitchFamily="49" charset="0"/>
              </a:rPr>
              <a:t>At line:3 char:5</a:t>
            </a:r>
          </a:p>
          <a:p>
            <a:r>
              <a:rPr lang="en-US">
                <a:solidFill>
                  <a:srgbClr val="FF4500"/>
                </a:solidFill>
                <a:latin typeface="Lucida Console" panose="020B0609040504020204" pitchFamily="49" charset="0"/>
              </a:rPr>
              <a:t>+     Throw "This is my custom terminating error"</a:t>
            </a:r>
          </a:p>
          <a:p>
            <a:r>
              <a:rPr lang="en-US">
                <a:solidFill>
                  <a:srgbClr val="FF4500"/>
                </a:solidFill>
                <a:latin typeface="Lucida Console" panose="020B0609040504020204" pitchFamily="49" charset="0"/>
              </a:rPr>
              <a:t>+ CategoryInfo          : </a:t>
            </a:r>
            <a:r>
              <a:rPr lang="en-US" err="1">
                <a:solidFill>
                  <a:srgbClr val="FF4500"/>
                </a:solidFill>
                <a:latin typeface="Lucida Console" panose="020B0609040504020204" pitchFamily="49" charset="0"/>
              </a:rPr>
              <a:t>OperationStopped</a:t>
            </a:r>
            <a:r>
              <a:rPr lang="en-US">
                <a:solidFill>
                  <a:srgbClr val="FF4500"/>
                </a:solidFill>
                <a:latin typeface="Lucida Console" panose="020B0609040504020204" pitchFamily="49" charset="0"/>
              </a:rPr>
              <a:t>: (This is my custom terminating </a:t>
            </a:r>
          </a:p>
          <a:p>
            <a:r>
              <a:rPr lang="en-US">
                <a:solidFill>
                  <a:srgbClr val="FF4500"/>
                </a:solidFill>
                <a:latin typeface="Lucida Console" panose="020B0609040504020204" pitchFamily="49" charset="0"/>
              </a:rPr>
              <a:t>    </a:t>
            </a:r>
            <a:r>
              <a:rPr lang="en-US" err="1">
                <a:solidFill>
                  <a:srgbClr val="FF4500"/>
                </a:solidFill>
                <a:latin typeface="Lucida Console" panose="020B0609040504020204" pitchFamily="49" charset="0"/>
              </a:rPr>
              <a:t>error:String</a:t>
            </a:r>
            <a:r>
              <a:rPr lang="en-US">
                <a:solidFill>
                  <a:srgbClr val="FF4500"/>
                </a:solidFill>
                <a:latin typeface="Lucida Console" panose="020B0609040504020204" pitchFamily="49" charset="0"/>
              </a:rPr>
              <a:t>) [], </a:t>
            </a:r>
            <a:r>
              <a:rPr lang="en-US" err="1">
                <a:solidFill>
                  <a:srgbClr val="FF4500"/>
                </a:solidFill>
                <a:latin typeface="Lucida Console" panose="020B0609040504020204" pitchFamily="49" charset="0"/>
              </a:rPr>
              <a:t>RuntimeException</a:t>
            </a:r>
            <a:endParaRPr lang="en-US">
              <a:solidFill>
                <a:srgbClr val="FF4500"/>
              </a:solidFill>
              <a:latin typeface="Lucida Console" panose="020B0609040504020204" pitchFamily="49" charset="0"/>
            </a:endParaRPr>
          </a:p>
          <a:p>
            <a:r>
              <a:rPr lang="en-US">
                <a:solidFill>
                  <a:srgbClr val="FF4500"/>
                </a:solidFill>
                <a:latin typeface="Lucida Console" panose="020B0609040504020204" pitchFamily="49" charset="0"/>
              </a:rPr>
              <a:t>    + </a:t>
            </a:r>
            <a:r>
              <a:rPr lang="en-US" err="1">
                <a:solidFill>
                  <a:srgbClr val="FF4500"/>
                </a:solidFill>
                <a:latin typeface="Lucida Console" panose="020B0609040504020204" pitchFamily="49" charset="0"/>
              </a:rPr>
              <a:t>FullyQualifiedErrorId</a:t>
            </a:r>
            <a:r>
              <a:rPr lang="en-US">
                <a:solidFill>
                  <a:srgbClr val="FF4500"/>
                </a:solidFill>
                <a:latin typeface="Lucida Console" panose="020B0609040504020204" pitchFamily="49" charset="0"/>
              </a:rPr>
              <a:t> : This is my custom terminating error</a:t>
            </a:r>
          </a:p>
        </p:txBody>
      </p:sp>
      <p:sp>
        <p:nvSpPr>
          <p:cNvPr id="10" name="Rectangular Callout 9"/>
          <p:cNvSpPr/>
          <p:nvPr/>
        </p:nvSpPr>
        <p:spPr>
          <a:xfrm>
            <a:off x="8279802" y="3030184"/>
            <a:ext cx="3109912" cy="797632"/>
          </a:xfrm>
          <a:prstGeom prst="wedgeRectCallout">
            <a:avLst>
              <a:gd name="adj1" fmla="val -168631"/>
              <a:gd name="adj2" fmla="val 21716"/>
            </a:avLst>
          </a:prstGeom>
          <a:solidFill>
            <a:schemeClr val="bg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Segoe UI"/>
                <a:ea typeface="+mn-ea"/>
                <a:cs typeface="+mn-cs"/>
              </a:rPr>
              <a:t>Line after ‘Throw’ doesn’t run because of termination</a:t>
            </a:r>
          </a:p>
        </p:txBody>
      </p:sp>
      <p:graphicFrame>
        <p:nvGraphicFramePr>
          <p:cNvPr id="3" name="Diagram 2">
            <a:extLst>
              <a:ext uri="{FF2B5EF4-FFF2-40B4-BE49-F238E27FC236}">
                <a16:creationId xmlns:a16="http://schemas.microsoft.com/office/drawing/2014/main" id="{7F333596-3BB8-40CE-958B-0BE4014EAB2D}"/>
              </a:ext>
            </a:extLst>
          </p:cNvPr>
          <p:cNvGraphicFramePr/>
          <p:nvPr>
            <p:extLst>
              <p:ext uri="{D42A27DB-BD31-4B8C-83A1-F6EECF244321}">
                <p14:modId xmlns:p14="http://schemas.microsoft.com/office/powerpoint/2010/main" val="2485089396"/>
              </p:ext>
            </p:extLst>
          </p:nvPr>
        </p:nvGraphicFramePr>
        <p:xfrm>
          <a:off x="698499" y="930908"/>
          <a:ext cx="10880726" cy="166228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114614514"/>
      </p:ext>
    </p:extLst>
  </p:cSld>
  <p:clrMapOvr>
    <a:masterClrMapping/>
  </p:clrMapOvr>
  <p:transition spd="slow"/>
  <p:extLst>
    <p:ext uri="{6950BFC3-D8DA-4A85-94F7-54DA5524770B}">
      <p188:commentRel xmlns:p188="http://schemas.microsoft.com/office/powerpoint/2018/8/main" r:id="rId4"/>
    </p:ext>
  </p:extLst>
</p:sld>
</file>

<file path=ppt/slides/slide38.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Exception Types</a:t>
            </a:r>
          </a:p>
        </p:txBody>
      </p:sp>
      <p:graphicFrame>
        <p:nvGraphicFramePr>
          <p:cNvPr id="4" name="Content Placeholder 3">
            <a:extLst>
              <a:ext uri="{FF2B5EF4-FFF2-40B4-BE49-F238E27FC236}">
                <a16:creationId xmlns:a16="http://schemas.microsoft.com/office/drawing/2014/main" id="{F87984F7-1379-41DA-93B6-E213CEAC7B80}"/>
              </a:ext>
            </a:extLst>
          </p:cNvPr>
          <p:cNvGraphicFramePr>
            <a:graphicFrameLocks noGrp="1"/>
          </p:cNvGraphicFramePr>
          <p:nvPr>
            <p:ph sz="quarter" idx="13"/>
            <p:extLst>
              <p:ext uri="{D42A27DB-BD31-4B8C-83A1-F6EECF244321}">
                <p14:modId xmlns:p14="http://schemas.microsoft.com/office/powerpoint/2010/main" val="3511234193"/>
              </p:ext>
            </p:extLst>
          </p:nvPr>
        </p:nvGraphicFramePr>
        <p:xfrm>
          <a:off x="655637" y="861068"/>
          <a:ext cx="4217577" cy="58413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Rectangle 10">
            <a:extLst>
              <a:ext uri="{FF2B5EF4-FFF2-40B4-BE49-F238E27FC236}">
                <a16:creationId xmlns:a16="http://schemas.microsoft.com/office/drawing/2014/main" id="{62D010B2-1781-403C-9CEB-C1AB5539B229}"/>
              </a:ext>
            </a:extLst>
          </p:cNvPr>
          <p:cNvSpPr/>
          <p:nvPr/>
        </p:nvSpPr>
        <p:spPr>
          <a:xfrm>
            <a:off x="5045336" y="861068"/>
            <a:ext cx="6989990" cy="5841329"/>
          </a:xfrm>
          <a:prstGeom prst="rect">
            <a:avLst/>
          </a:prstGeom>
          <a:solidFill>
            <a:srgbClr val="012456"/>
          </a:solidFill>
        </p:spPr>
        <p:txBody>
          <a:bodyPr wrap="square">
            <a:noAutofit/>
          </a:bodyPr>
          <a:lstStyle/>
          <a:p>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gt; </a:t>
            </a:r>
            <a:r>
              <a:rPr lang="en-US"/>
              <a:t> </a:t>
            </a:r>
            <a:r>
              <a:rPr lang="en-US" sz="1800">
                <a:solidFill>
                  <a:srgbClr val="FFE4C4"/>
                </a:solidFill>
                <a:latin typeface="Lucida Console" panose="020B0609040504020204" pitchFamily="49" charset="0"/>
              </a:rPr>
              <a:t>1</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0 </a:t>
            </a:r>
          </a:p>
          <a:p>
            <a:r>
              <a:rPr lang="en-US" sz="1800">
                <a:solidFill>
                  <a:srgbClr val="FF9494"/>
                </a:solidFill>
                <a:latin typeface="Lucida Console" panose="020B0609040504020204" pitchFamily="49" charset="0"/>
              </a:rPr>
              <a:t>Attempted to divide by zero.</a:t>
            </a:r>
          </a:p>
          <a:p>
            <a:r>
              <a:rPr lang="en-US" sz="1800">
                <a:solidFill>
                  <a:srgbClr val="FF9494"/>
                </a:solidFill>
                <a:latin typeface="Lucida Console" panose="020B0609040504020204" pitchFamily="49" charset="0"/>
              </a:rPr>
              <a:t>At line:1 char:1</a:t>
            </a:r>
          </a:p>
          <a:p>
            <a:r>
              <a:rPr lang="en-US" sz="1800">
                <a:solidFill>
                  <a:srgbClr val="FF9494"/>
                </a:solidFill>
                <a:latin typeface="Lucida Console" panose="020B0609040504020204" pitchFamily="49" charset="0"/>
              </a:rPr>
              <a:t>+ 1/0</a:t>
            </a:r>
          </a:p>
          <a:p>
            <a:r>
              <a:rPr lang="en-US" sz="1800">
                <a:solidFill>
                  <a:srgbClr val="FF9494"/>
                </a:solidFill>
                <a:latin typeface="Lucida Console" panose="020B0609040504020204" pitchFamily="49" charset="0"/>
              </a:rPr>
              <a:t>+ ~~~</a:t>
            </a:r>
          </a:p>
          <a:p>
            <a:r>
              <a:rPr lang="en-US" sz="1800">
                <a:solidFill>
                  <a:srgbClr val="FF9494"/>
                </a:solidFill>
                <a:latin typeface="Lucida Console" panose="020B0609040504020204" pitchFamily="49" charset="0"/>
              </a:rPr>
              <a:t>    + CategoryInfo          : </a:t>
            </a:r>
            <a:r>
              <a:rPr lang="en-US" sz="1800" err="1">
                <a:solidFill>
                  <a:srgbClr val="FF9494"/>
                </a:solidFill>
                <a:latin typeface="Lucida Console" panose="020B0609040504020204" pitchFamily="49" charset="0"/>
              </a:rPr>
              <a:t>NotSpecified</a:t>
            </a:r>
            <a:r>
              <a:rPr lang="en-US" sz="1800">
                <a:solidFill>
                  <a:srgbClr val="FF9494"/>
                </a:solidFill>
                <a:latin typeface="Lucida Console" panose="020B0609040504020204" pitchFamily="49" charset="0"/>
              </a:rPr>
              <a:t>: (:) [], </a:t>
            </a:r>
            <a:r>
              <a:rPr lang="en-US" sz="1800" err="1">
                <a:solidFill>
                  <a:srgbClr val="FF9494"/>
                </a:solidFill>
                <a:latin typeface="Lucida Console" panose="020B0609040504020204" pitchFamily="49" charset="0"/>
              </a:rPr>
              <a:t>RuntimeException</a:t>
            </a:r>
            <a:endParaRPr lang="en-US" sz="1800">
              <a:solidFill>
                <a:srgbClr val="FF9494"/>
              </a:solidFill>
              <a:latin typeface="Lucida Console" panose="020B0609040504020204" pitchFamily="49" charset="0"/>
            </a:endParaRPr>
          </a:p>
          <a:p>
            <a:r>
              <a:rPr lang="en-US" sz="1800">
                <a:solidFill>
                  <a:srgbClr val="FF9494"/>
                </a:solidFill>
                <a:latin typeface="Lucida Console" panose="020B0609040504020204" pitchFamily="49" charset="0"/>
              </a:rPr>
              <a:t>    + </a:t>
            </a:r>
            <a:r>
              <a:rPr lang="en-US" sz="1800" err="1">
                <a:solidFill>
                  <a:srgbClr val="FF9494"/>
                </a:solidFill>
                <a:latin typeface="Lucida Console" panose="020B0609040504020204" pitchFamily="49" charset="0"/>
              </a:rPr>
              <a:t>FullyQualifiedErrorId</a:t>
            </a:r>
            <a:r>
              <a:rPr lang="en-US" sz="1800">
                <a:solidFill>
                  <a:srgbClr val="FF9494"/>
                </a:solidFill>
                <a:latin typeface="Lucida Console" panose="020B0609040504020204" pitchFamily="49" charset="0"/>
              </a:rPr>
              <a:t> : </a:t>
            </a:r>
            <a:r>
              <a:rPr lang="en-US" sz="1800" err="1">
                <a:solidFill>
                  <a:srgbClr val="FF9494"/>
                </a:solidFill>
                <a:latin typeface="Lucida Console" panose="020B0609040504020204" pitchFamily="49" charset="0"/>
              </a:rPr>
              <a:t>RuntimeException</a:t>
            </a:r>
            <a:r>
              <a:rPr lang="en-US" sz="1800">
                <a:solidFill>
                  <a:srgbClr val="FF9494"/>
                </a:solidFill>
                <a:latin typeface="Lucida Console" panose="020B0609040504020204" pitchFamily="49" charset="0"/>
              </a:rPr>
              <a:t> </a:t>
            </a:r>
            <a:endParaRPr kumimoji="0" lang="en-US"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endParaRPr>
          </a:p>
          <a:p>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Error</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0</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Exception.GetType</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FullName</a:t>
            </a:r>
            <a:endParaRPr lang="en-US">
              <a:solidFill>
                <a:prstClr val="white"/>
              </a:solidFill>
              <a:latin typeface="Lucida Console" panose="020B0609040504020204" pitchFamily="49" charset="0"/>
            </a:endParaRPr>
          </a:p>
          <a:p>
            <a:r>
              <a:rPr lang="en-US" sz="1800" err="1">
                <a:solidFill>
                  <a:schemeClr val="bg1"/>
                </a:solidFill>
                <a:latin typeface="Lucida Console" panose="020B0609040504020204" pitchFamily="49" charset="0"/>
              </a:rPr>
              <a:t>DivideByZeroException</a:t>
            </a:r>
            <a:endParaRPr lang="en-US" sz="1800">
              <a:solidFill>
                <a:schemeClr val="bg1"/>
              </a:solidFill>
              <a:latin typeface="Lucida Console" panose="020B0609040504020204" pitchFamily="49" charset="0"/>
            </a:endParaRPr>
          </a:p>
          <a:p>
            <a:endParaRPr lang="en-US">
              <a:solidFill>
                <a:schemeClr val="bg1"/>
              </a:solidFill>
              <a:latin typeface="Lucida Console" panose="020B0609040504020204" pitchFamily="49" charset="0"/>
            </a:endParaRPr>
          </a:p>
          <a:p>
            <a:r>
              <a:rPr lang="en-US" sz="1800">
                <a:solidFill>
                  <a:prstClr val="white"/>
                </a:solidFill>
                <a:latin typeface="Lucida Console" panose="020B0609040504020204" pitchFamily="49" charset="0"/>
              </a:rPr>
              <a:t>PS&gt; </a:t>
            </a:r>
            <a:r>
              <a:rPr lang="en-US" sz="1800">
                <a:solidFill>
                  <a:srgbClr val="FF4500"/>
                </a:solidFill>
                <a:latin typeface="Lucida Console" panose="020B0609040504020204" pitchFamily="49" charset="0"/>
              </a:rPr>
              <a:t>$Error</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0</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Exception.InnerException</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GetTyp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p>
          <a:p>
            <a:r>
              <a:rPr lang="en-US" sz="1800">
                <a:solidFill>
                  <a:prstClr val="black"/>
                </a:solidFill>
                <a:latin typeface="Lucida Console" panose="020B0609040504020204" pitchFamily="49" charset="0"/>
              </a:rPr>
              <a:t>   	</a:t>
            </a:r>
            <a:r>
              <a:rPr lang="en-US" sz="1800">
                <a:solidFill>
                  <a:srgbClr val="E0FFFF"/>
                </a:solidFill>
                <a:latin typeface="Lucida Console" panose="020B0609040504020204" pitchFamily="49" charset="0"/>
              </a:rPr>
              <a:t>Format-List</a:t>
            </a:r>
            <a:r>
              <a:rPr lang="en-US" sz="1800">
                <a:solidFill>
                  <a:prstClr val="black"/>
                </a:solidFill>
                <a:latin typeface="Lucida Console" panose="020B0609040504020204" pitchFamily="49" charset="0"/>
              </a:rPr>
              <a:t> </a:t>
            </a:r>
            <a:r>
              <a:rPr lang="en-US" sz="1800" err="1">
                <a:solidFill>
                  <a:srgbClr val="EE82EE"/>
                </a:solidFill>
                <a:latin typeface="Lucida Console" panose="020B0609040504020204" pitchFamily="49" charset="0"/>
              </a:rPr>
              <a:t>Name</a:t>
            </a:r>
            <a:r>
              <a:rPr lang="en-US" sz="1800" err="1">
                <a:solidFill>
                  <a:srgbClr val="D3D3D3"/>
                </a:solidFill>
                <a:latin typeface="Lucida Console" panose="020B0609040504020204" pitchFamily="49" charset="0"/>
              </a:rPr>
              <a:t>,</a:t>
            </a:r>
            <a:r>
              <a:rPr lang="en-US" sz="1800" err="1">
                <a:solidFill>
                  <a:srgbClr val="EE82EE"/>
                </a:solidFill>
                <a:latin typeface="Lucida Console" panose="020B0609040504020204" pitchFamily="49" charset="0"/>
              </a:rPr>
              <a:t>BaseType</a:t>
            </a:r>
            <a:r>
              <a:rPr lang="en-US" sz="1800" err="1">
                <a:solidFill>
                  <a:srgbClr val="D3D3D3"/>
                </a:solidFill>
                <a:latin typeface="Lucida Console" panose="020B0609040504020204" pitchFamily="49" charset="0"/>
              </a:rPr>
              <a:t>,</a:t>
            </a:r>
            <a:r>
              <a:rPr lang="en-US" sz="1800" err="1">
                <a:solidFill>
                  <a:srgbClr val="EE82EE"/>
                </a:solidFill>
                <a:latin typeface="Lucida Console" panose="020B0609040504020204" pitchFamily="49" charset="0"/>
              </a:rPr>
              <a:t>FullName</a:t>
            </a:r>
            <a:endParaRPr lang="en-US">
              <a:solidFill>
                <a:prstClr val="black"/>
              </a:solidFill>
              <a:latin typeface="Lucida Console" panose="020B0609040504020204" pitchFamily="49" charset="0"/>
            </a:endParaRPr>
          </a:p>
          <a:p>
            <a:endParaRPr lang="en-US" sz="1800">
              <a:solidFill>
                <a:schemeClr val="bg1"/>
              </a:solidFill>
              <a:latin typeface="Lucida Console" panose="020B0609040504020204" pitchFamily="49" charset="0"/>
            </a:endParaRPr>
          </a:p>
          <a:p>
            <a:r>
              <a:rPr lang="en-US" sz="1800">
                <a:solidFill>
                  <a:schemeClr val="bg1"/>
                </a:solidFill>
                <a:latin typeface="Lucida Console" panose="020B0609040504020204" pitchFamily="49" charset="0"/>
              </a:rPr>
              <a:t>Name     : </a:t>
            </a:r>
            <a:r>
              <a:rPr lang="en-US" sz="1800" err="1">
                <a:solidFill>
                  <a:schemeClr val="bg1"/>
                </a:solidFill>
                <a:latin typeface="Lucida Console" panose="020B0609040504020204" pitchFamily="49" charset="0"/>
              </a:rPr>
              <a:t>DivideByZeroException</a:t>
            </a:r>
            <a:endParaRPr lang="en-US" sz="1800">
              <a:solidFill>
                <a:schemeClr val="bg1"/>
              </a:solidFill>
              <a:latin typeface="Lucida Console" panose="020B0609040504020204" pitchFamily="49" charset="0"/>
            </a:endParaRPr>
          </a:p>
          <a:p>
            <a:r>
              <a:rPr lang="en-US" sz="1800" err="1">
                <a:solidFill>
                  <a:schemeClr val="bg1"/>
                </a:solidFill>
                <a:latin typeface="Lucida Console" panose="020B0609040504020204" pitchFamily="49" charset="0"/>
              </a:rPr>
              <a:t>BaseType</a:t>
            </a:r>
            <a:r>
              <a:rPr lang="en-US" sz="1800">
                <a:solidFill>
                  <a:schemeClr val="bg1"/>
                </a:solidFill>
                <a:latin typeface="Lucida Console" panose="020B0609040504020204" pitchFamily="49" charset="0"/>
              </a:rPr>
              <a:t> : </a:t>
            </a:r>
            <a:r>
              <a:rPr lang="en-US" sz="1800" err="1">
                <a:solidFill>
                  <a:schemeClr val="bg1"/>
                </a:solidFill>
                <a:latin typeface="Lucida Console" panose="020B0609040504020204" pitchFamily="49" charset="0"/>
              </a:rPr>
              <a:t>System.ArithmeticException</a:t>
            </a:r>
            <a:endParaRPr lang="en-US" sz="1800">
              <a:solidFill>
                <a:schemeClr val="bg1"/>
              </a:solidFill>
              <a:latin typeface="Lucida Console" panose="020B0609040504020204" pitchFamily="49" charset="0"/>
            </a:endParaRPr>
          </a:p>
          <a:p>
            <a:r>
              <a:rPr lang="en-US" sz="1800" err="1">
                <a:solidFill>
                  <a:schemeClr val="bg1"/>
                </a:solidFill>
                <a:latin typeface="Lucida Console" panose="020B0609040504020204" pitchFamily="49" charset="0"/>
              </a:rPr>
              <a:t>FullName</a:t>
            </a:r>
            <a:r>
              <a:rPr lang="en-US" sz="1800">
                <a:solidFill>
                  <a:schemeClr val="bg1"/>
                </a:solidFill>
                <a:latin typeface="Lucida Console" panose="020B0609040504020204" pitchFamily="49" charset="0"/>
              </a:rPr>
              <a:t> : </a:t>
            </a:r>
            <a:r>
              <a:rPr lang="en-US" sz="1800" err="1">
                <a:solidFill>
                  <a:schemeClr val="bg1"/>
                </a:solidFill>
                <a:latin typeface="Lucida Console" panose="020B0609040504020204" pitchFamily="49" charset="0"/>
              </a:rPr>
              <a:t>System.DivideByZeroException</a:t>
            </a:r>
            <a:endParaRPr lang="en-US" sz="1800">
              <a:solidFill>
                <a:schemeClr val="bg1"/>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618369180"/>
      </p:ext>
    </p:extLst>
  </p:cSld>
  <p:clrMapOvr>
    <a:masterClrMapping/>
  </p:clrMapOvr>
  <p:transition spd="slow"/>
  <p:extLst>
    <p:ext uri="{6950BFC3-D8DA-4A85-94F7-54DA5524770B}">
      <p188:commentRel xmlns:p188="http://schemas.microsoft.com/office/powerpoint/2018/8/main" r:id="rId4"/>
    </p:ext>
  </p:extLst>
</p:sld>
</file>

<file path=ppt/slides/slide3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Terminating Errors</a:t>
            </a:r>
          </a:p>
        </p:txBody>
      </p:sp>
      <p:pic>
        <p:nvPicPr>
          <p:cNvPr id="5" name="Demo 01" descr="A person standing in front of a screen.">
            <a:extLst>
              <a:ext uri="{FF2B5EF4-FFF2-40B4-BE49-F238E27FC236}">
                <a16:creationId xmlns:a16="http://schemas.microsoft.com/office/drawing/2014/main" id="{3388EAA2-2D54-40D7-8D0D-39C486006B0A}"/>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0264426"/>
      </p:ext>
    </p:extLst>
  </p:cSld>
  <p:clrMapOvr>
    <a:masterClrMapping/>
  </p:clrMapOvr>
  <p:transition spd="slow"/>
</p:sld>
</file>

<file path=ppt/slides/slide4.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name="HIDDEN - Slide174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Streams</a:t>
            </a:r>
          </a:p>
        </p:txBody>
      </p:sp>
    </p:spTree>
    <p:custDataLst>
      <p:tags r:id="rId1"/>
    </p:custDataLst>
    <p:extLst>
      <p:ext uri="{BB962C8B-B14F-4D97-AF65-F5344CB8AC3E}">
        <p14:creationId xmlns:p14="http://schemas.microsoft.com/office/powerpoint/2010/main" val="1818355095"/>
      </p:ext>
    </p:extLst>
  </p:cSld>
  <p:clrMapOvr>
    <a:masterClrMapping/>
  </p:clrMapOvr>
  <p:transition spd="slow"/>
  <p:extLst>
    <p:ext uri="{6950BFC3-D8DA-4A85-94F7-54DA5524770B}">
      <p188:commentRel xmlns:p188="http://schemas.microsoft.com/office/powerpoint/2018/8/main" r:id="rId5"/>
    </p:ext>
  </p:extLst>
</p:sld>
</file>

<file path=ppt/slides/slide4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211488423"/>
      </p:ext>
    </p:extLst>
  </p:cSld>
  <p:clrMapOvr>
    <a:masterClrMapping/>
  </p:clrMapOvr>
  <p:transition spd="slow"/>
</p:sld>
</file>

<file path=ppt/slides/slide4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61">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Handling Terminating Errors using </a:t>
            </a:r>
            <a:br>
              <a:rPr lang="en-US"/>
            </a:br>
            <a:r>
              <a:rPr lang="en-US"/>
              <a:t>   - Trap { }</a:t>
            </a:r>
          </a:p>
        </p:txBody>
      </p:sp>
    </p:spTree>
    <p:custDataLst>
      <p:tags r:id="rId1"/>
    </p:custDataLst>
    <p:extLst>
      <p:ext uri="{BB962C8B-B14F-4D97-AF65-F5344CB8AC3E}">
        <p14:creationId xmlns:p14="http://schemas.microsoft.com/office/powerpoint/2010/main" val="2164215295"/>
      </p:ext>
    </p:extLst>
  </p:cSld>
  <p:clrMapOvr>
    <a:masterClrMapping/>
  </p:clrMapOvr>
  <p:transition spd="slow"/>
</p:sld>
</file>

<file path=ppt/slides/slide42.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t>Trap { }</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18271458"/>
              </p:ext>
            </p:extLst>
          </p:nvPr>
        </p:nvGraphicFramePr>
        <p:xfrm>
          <a:off x="655638" y="781705"/>
          <a:ext cx="10880726" cy="569079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967107824"/>
      </p:ext>
    </p:extLst>
  </p:cSld>
  <p:clrMapOvr>
    <a:masterClrMapping/>
  </p:clrMapOvr>
  <p:transition spd="slow"/>
  <p:extLst>
    <p:ext uri="{6950BFC3-D8DA-4A85-94F7-54DA5524770B}">
      <p188:commentRel xmlns:p188="http://schemas.microsoft.com/office/powerpoint/2018/8/main" r:id="rId4"/>
    </p:ext>
  </p:extLst>
</p:sld>
</file>

<file path=ppt/slides/slide44.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t>Trap { }</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731582588"/>
              </p:ext>
            </p:extLst>
          </p:nvPr>
        </p:nvGraphicFramePr>
        <p:xfrm>
          <a:off x="655638" y="781705"/>
          <a:ext cx="10880726" cy="569079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49963606"/>
      </p:ext>
    </p:extLst>
  </p:cSld>
  <p:clrMapOvr>
    <a:masterClrMapping/>
  </p:clrMapOvr>
  <p:transition spd="slow"/>
  <p:extLst>
    <p:ext uri="{6950BFC3-D8DA-4A85-94F7-54DA5524770B}">
      <p188:commentRel xmlns:p188="http://schemas.microsoft.com/office/powerpoint/2018/8/main" r:id="rId4"/>
    </p:ext>
  </p:extLst>
</p:sld>
</file>

<file path=ppt/slides/slide4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CF265-FDED-48B4-B9C5-A3DD937D93DE}"/>
              </a:ext>
            </a:extLst>
          </p:cNvPr>
          <p:cNvSpPr>
            <a:spLocks noGrp="1"/>
          </p:cNvSpPr>
          <p:nvPr>
            <p:ph type="title"/>
          </p:nvPr>
        </p:nvSpPr>
        <p:spPr/>
        <p:txBody>
          <a:bodyPr/>
          <a:lstStyle/>
          <a:p>
            <a:r>
              <a:rPr lang="en-US"/>
              <a:t>Example: Trap { }</a:t>
            </a:r>
          </a:p>
        </p:txBody>
      </p:sp>
      <p:grpSp>
        <p:nvGrpSpPr>
          <p:cNvPr id="3" name="Code &amp; Execute">
            <a:extLst>
              <a:ext uri="{FF2B5EF4-FFF2-40B4-BE49-F238E27FC236}">
                <a16:creationId xmlns:a16="http://schemas.microsoft.com/office/drawing/2014/main" id="{23319D4B-850C-4564-922E-647F34228DA4}"/>
              </a:ext>
              <a:ext uri="{C183D7F6-B498-43B3-948B-1728B52AA6E4}">
                <adec:decorative xmlns:adec="http://schemas.microsoft.com/office/drawing/2017/decorative" val="1"/>
              </a:ext>
            </a:extLst>
          </p:cNvPr>
          <p:cNvGrpSpPr/>
          <p:nvPr>
            <p:custDataLst>
              <p:tags r:id="rId2"/>
            </p:custDataLst>
          </p:nvPr>
        </p:nvGrpSpPr>
        <p:grpSpPr>
          <a:xfrm>
            <a:off x="655637" y="781706"/>
            <a:ext cx="10880725" cy="5973199"/>
            <a:chOff x="655638" y="1952299"/>
            <a:chExt cx="10880725" cy="4607377"/>
          </a:xfrm>
        </p:grpSpPr>
        <p:sp>
          <p:nvSpPr>
            <p:cNvPr id="9" name="Rectangle 8">
              <a:extLst>
                <a:ext uri="{FF2B5EF4-FFF2-40B4-BE49-F238E27FC236}">
                  <a16:creationId xmlns:a16="http://schemas.microsoft.com/office/drawing/2014/main" id="{1C136209-61A5-4A62-B9CB-6A314CA41F6F}"/>
                </a:ext>
              </a:extLst>
            </p:cNvPr>
            <p:cNvSpPr/>
            <p:nvPr/>
          </p:nvSpPr>
          <p:spPr>
            <a:xfrm>
              <a:off x="655638" y="4443732"/>
              <a:ext cx="10880725" cy="2115944"/>
            </a:xfrm>
            <a:prstGeom prst="rect">
              <a:avLst/>
            </a:prstGeom>
            <a:solidFill>
              <a:srgbClr val="012456"/>
            </a:solidFill>
            <a:ln>
              <a:solidFill>
                <a:srgbClr val="012456"/>
              </a:solidFill>
            </a:ln>
          </p:spPr>
          <p:txBody>
            <a:bodyPr wrap="square">
              <a:noAutofit/>
            </a:bodyPr>
            <a:lstStyle/>
            <a:p>
              <a:r>
                <a:rPr lang="en-US" sz="1800">
                  <a:solidFill>
                    <a:srgbClr val="FFFF00"/>
                  </a:solidFill>
                  <a:latin typeface="Lucida Console" panose="020B0609040504020204" pitchFamily="49" charset="0"/>
                </a:rPr>
                <a:t>command entered does not exist</a:t>
              </a:r>
              <a:endParaRPr lang="en-US" sz="1800">
                <a:solidFill>
                  <a:srgbClr val="F5F5F5"/>
                </a:solidFill>
                <a:latin typeface="Lucida Console" panose="020B0609040504020204" pitchFamily="49" charset="0"/>
              </a:endParaRPr>
            </a:p>
            <a:p>
              <a:r>
                <a:rPr lang="en-US" sz="1800">
                  <a:solidFill>
                    <a:srgbClr val="00FF00"/>
                  </a:solidFill>
                  <a:latin typeface="Lucida Console" panose="020B0609040504020204" pitchFamily="49" charset="0"/>
                </a:rPr>
                <a:t>Time to go shopping, you have won Lotto!!</a:t>
              </a:r>
              <a:endParaRPr lang="en-US" sz="1800">
                <a:solidFill>
                  <a:srgbClr val="F5F5F5"/>
                </a:solidFill>
                <a:latin typeface="Lucida Console" panose="020B0609040504020204" pitchFamily="49" charset="0"/>
              </a:endParaRPr>
            </a:p>
            <a:p>
              <a:r>
                <a:rPr lang="en-US" sz="1800">
                  <a:solidFill>
                    <a:srgbClr val="FFFF00"/>
                  </a:solidFill>
                  <a:latin typeface="Lucida Console" panose="020B0609040504020204" pitchFamily="49" charset="0"/>
                </a:rPr>
                <a:t>some other err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Cannot convert value “a” to type “System.Int32” Error: “Input string was not in a correct form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At line:10 char: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 [in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FF4500"/>
                  </a:solidFill>
                  <a:latin typeface="Lucida Console" panose="020B0609040504020204" pitchFamily="49" charset="0"/>
                </a:rPr>
                <a:t>   + CategoryInfo          : </a:t>
              </a:r>
              <a:r>
                <a:rPr lang="en-US" err="1">
                  <a:solidFill>
                    <a:srgbClr val="FF4500"/>
                  </a:solidFill>
                  <a:latin typeface="Lucida Console" panose="020B0609040504020204" pitchFamily="49" charset="0"/>
                </a:rPr>
                <a:t>InvalidArgument</a:t>
              </a:r>
              <a:r>
                <a:rPr lang="en-US">
                  <a:solidFill>
                    <a:srgbClr val="FF4500"/>
                  </a:solidFill>
                  <a:latin typeface="Lucida Console" panose="020B0609040504020204" pitchFamily="49" charset="0"/>
                </a:rPr>
                <a:t>:, </a:t>
              </a:r>
              <a:r>
                <a:rPr lang="en-US" err="1">
                  <a:solidFill>
                    <a:srgbClr val="FF4500"/>
                  </a:solidFill>
                  <a:latin typeface="Lucida Console" panose="020B0609040504020204" pitchFamily="49" charset="0"/>
                </a:rPr>
                <a:t>RuntimeException</a:t>
              </a:r>
              <a:endParaRPr lang="en-US">
                <a:solidFill>
                  <a:srgbClr val="FF4500"/>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FF4500"/>
                  </a:solidFill>
                  <a:latin typeface="Lucida Console" panose="020B0609040504020204" pitchFamily="49" charset="0"/>
                </a:rPr>
                <a:t>   + </a:t>
              </a:r>
              <a:r>
                <a:rPr lang="en-US" err="1">
                  <a:solidFill>
                    <a:srgbClr val="FF4500"/>
                  </a:solidFill>
                  <a:latin typeface="Lucida Console" panose="020B0609040504020204" pitchFamily="49" charset="0"/>
                </a:rPr>
                <a:t>FullyQualifiedErrorId</a:t>
              </a:r>
              <a:r>
                <a:rPr lang="en-US">
                  <a:solidFill>
                    <a:srgbClr val="FF4500"/>
                  </a:solidFill>
                  <a:latin typeface="Lucida Console" panose="020B0609040504020204" pitchFamily="49" charset="0"/>
                </a:rPr>
                <a:t> : </a:t>
              </a:r>
              <a:r>
                <a:rPr lang="en-US" err="1">
                  <a:solidFill>
                    <a:srgbClr val="FF4500"/>
                  </a:solidFill>
                  <a:latin typeface="Lucida Console" panose="020B0609040504020204" pitchFamily="49" charset="0"/>
                </a:rPr>
                <a:t>InvalidcastFromStringToInteger</a:t>
              </a:r>
              <a:endParaRPr lang="en-US">
                <a:solidFill>
                  <a:srgbClr val="FF4500"/>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F5F5F5"/>
                  </a:solidFill>
                  <a:latin typeface="Lucida Console" panose="020B0609040504020204" pitchFamily="49" charset="0"/>
                </a:rPr>
                <a:t>   </a:t>
              </a:r>
            </a:p>
          </p:txBody>
        </p:sp>
        <p:sp>
          <p:nvSpPr>
            <p:cNvPr id="10" name="Text Placeholder 9">
              <a:extLst>
                <a:ext uri="{FF2B5EF4-FFF2-40B4-BE49-F238E27FC236}">
                  <a16:creationId xmlns:a16="http://schemas.microsoft.com/office/drawing/2014/main" id="{7454ADDF-E757-438E-BAD0-79836EBA7F73}"/>
                </a:ext>
              </a:extLst>
            </p:cNvPr>
            <p:cNvSpPr txBox="1">
              <a:spLocks/>
            </p:cNvSpPr>
            <p:nvPr/>
          </p:nvSpPr>
          <p:spPr>
            <a:xfrm>
              <a:off x="655638" y="1952299"/>
              <a:ext cx="10880725" cy="2425743"/>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000"/>
                <a:t> </a:t>
              </a:r>
              <a:r>
                <a:rPr lang="en-US" sz="1800">
                  <a:solidFill>
                    <a:srgbClr val="00008B"/>
                  </a:solidFill>
                  <a:latin typeface="Lucida Console" panose="020B0609040504020204" pitchFamily="49" charset="0"/>
                </a:rPr>
                <a:t>Trap</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err="1">
                  <a:solidFill>
                    <a:srgbClr val="006161"/>
                  </a:solidFill>
                  <a:latin typeface="Lucida Console" panose="020B0609040504020204" pitchFamily="49" charset="0"/>
                </a:rPr>
                <a:t>System.Management.Automation.CommandNotFoundException</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p>
            <a:p>
              <a:pPr marL="0" indent="0">
                <a:buNone/>
              </a:pPr>
              <a:r>
                <a:rPr lang="en-US" sz="1800">
                  <a:solidFill>
                    <a:prstClr val="black"/>
                  </a:solidFill>
                  <a:latin typeface="Lucida Console" panose="020B0609040504020204" pitchFamily="49" charset="0"/>
                </a:rPr>
                <a:t>    </a:t>
              </a:r>
              <a:r>
                <a:rPr lang="en-US" sz="1800">
                  <a:solidFill>
                    <a:srgbClr val="0000FF"/>
                  </a:solidFill>
                  <a:latin typeface="Lucida Console" panose="020B0609040504020204" pitchFamily="49" charset="0"/>
                </a:rPr>
                <a:t>write-hos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command entered does not exist'</a:t>
              </a:r>
              <a:r>
                <a:rPr lang="en-US" sz="1800">
                  <a:solidFill>
                    <a:prstClr val="black"/>
                  </a:solidFill>
                  <a:latin typeface="Lucida Console" panose="020B0609040504020204" pitchFamily="49" charset="0"/>
                </a:rPr>
                <a:t> </a:t>
              </a:r>
              <a:r>
                <a:rPr lang="en-US" sz="1800">
                  <a:solidFill>
                    <a:srgbClr val="000080"/>
                  </a:solidFill>
                  <a:latin typeface="Lucida Console" panose="020B0609040504020204" pitchFamily="49" charset="0"/>
                </a:rPr>
                <a:t>-</a:t>
              </a:r>
              <a:r>
                <a:rPr lang="en-US" sz="1800" err="1">
                  <a:solidFill>
                    <a:srgbClr val="000080"/>
                  </a:solidFill>
                  <a:latin typeface="Lucida Console" panose="020B0609040504020204" pitchFamily="49" charset="0"/>
                </a:rPr>
                <a:t>ForegroundColor</a:t>
              </a:r>
              <a:r>
                <a:rPr lang="en-US" sz="1800">
                  <a:solidFill>
                    <a:prstClr val="black"/>
                  </a:solidFill>
                  <a:latin typeface="Lucida Console" panose="020B0609040504020204" pitchFamily="49" charset="0"/>
                </a:rPr>
                <a:t> </a:t>
              </a:r>
              <a:r>
                <a:rPr lang="en-US" sz="1800">
                  <a:solidFill>
                    <a:srgbClr val="8A2BE2"/>
                  </a:solidFill>
                  <a:latin typeface="Lucida Console" panose="020B0609040504020204" pitchFamily="49" charset="0"/>
                </a:rPr>
                <a:t>Yellow</a:t>
              </a:r>
              <a:endParaRPr lang="en-US" sz="1800">
                <a:solidFill>
                  <a:prstClr val="black"/>
                </a:solidFill>
                <a:latin typeface="Lucida Console" panose="020B0609040504020204" pitchFamily="49" charset="0"/>
              </a:endParaRPr>
            </a:p>
            <a:p>
              <a:pPr marL="0" indent="0">
                <a:buNone/>
              </a:pPr>
              <a:r>
                <a:rPr lang="en-US" sz="1800">
                  <a:solidFill>
                    <a:prstClr val="black"/>
                  </a:solidFill>
                  <a:latin typeface="Lucida Console" panose="020B0609040504020204" pitchFamily="49" charset="0"/>
                </a:rPr>
                <a:t>    </a:t>
              </a:r>
              <a:r>
                <a:rPr lang="en-US" sz="1800">
                  <a:solidFill>
                    <a:srgbClr val="00008B"/>
                  </a:solidFill>
                  <a:latin typeface="Lucida Console" panose="020B0609040504020204" pitchFamily="49" charset="0"/>
                </a:rPr>
                <a:t>continue</a:t>
              </a:r>
              <a:endParaRPr lang="en-US" sz="1800">
                <a:solidFill>
                  <a:prstClr val="black"/>
                </a:solidFill>
                <a:latin typeface="Lucida Console" panose="020B0609040504020204" pitchFamily="49" charset="0"/>
              </a:endParaRPr>
            </a:p>
            <a:p>
              <a:pPr marL="0" indent="0">
                <a:buNone/>
              </a:pPr>
              <a:r>
                <a:rPr lang="en-US" sz="1800">
                  <a:solidFill>
                    <a:prstClr val="black"/>
                  </a:solidFill>
                  <a:latin typeface="Lucida Console" panose="020B0609040504020204" pitchFamily="49" charset="0"/>
                </a:rPr>
                <a:t>} </a:t>
              </a:r>
            </a:p>
            <a:p>
              <a:pPr marL="0" indent="0">
                <a:buNone/>
              </a:pPr>
              <a:r>
                <a:rPr lang="en-US" sz="1800">
                  <a:solidFill>
                    <a:srgbClr val="00008B"/>
                  </a:solidFill>
                  <a:latin typeface="Lucida Console" panose="020B0609040504020204" pitchFamily="49" charset="0"/>
                </a:rPr>
                <a:t>Trap</a:t>
              </a:r>
              <a:r>
                <a:rPr lang="en-US" sz="1800">
                  <a:solidFill>
                    <a:prstClr val="black"/>
                  </a:solidFill>
                  <a:latin typeface="Lucida Console" panose="020B0609040504020204" pitchFamily="49" charset="0"/>
                </a:rPr>
                <a:t> {</a:t>
              </a:r>
            </a:p>
            <a:p>
              <a:pPr marL="0" indent="0">
                <a:buNone/>
              </a:pPr>
              <a:r>
                <a:rPr lang="en-US" sz="1800">
                  <a:solidFill>
                    <a:prstClr val="black"/>
                  </a:solidFill>
                  <a:latin typeface="Lucida Console" panose="020B0609040504020204" pitchFamily="49" charset="0"/>
                </a:rPr>
                <a:t>    </a:t>
              </a:r>
              <a:r>
                <a:rPr lang="en-US" sz="1800">
                  <a:solidFill>
                    <a:srgbClr val="0000FF"/>
                  </a:solidFill>
                  <a:latin typeface="Lucida Console" panose="020B0609040504020204" pitchFamily="49" charset="0"/>
                </a:rPr>
                <a:t>write-hos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some other error'</a:t>
              </a:r>
              <a:r>
                <a:rPr lang="en-US" sz="1800">
                  <a:solidFill>
                    <a:prstClr val="black"/>
                  </a:solidFill>
                  <a:latin typeface="Lucida Console" panose="020B0609040504020204" pitchFamily="49" charset="0"/>
                </a:rPr>
                <a:t> </a:t>
              </a:r>
              <a:r>
                <a:rPr lang="en-US" sz="1800">
                  <a:solidFill>
                    <a:srgbClr val="000080"/>
                  </a:solidFill>
                  <a:latin typeface="Lucida Console" panose="020B0609040504020204" pitchFamily="49" charset="0"/>
                </a:rPr>
                <a:t>-</a:t>
              </a:r>
              <a:r>
                <a:rPr lang="en-US" sz="1800" err="1">
                  <a:solidFill>
                    <a:srgbClr val="000080"/>
                  </a:solidFill>
                  <a:latin typeface="Lucida Console" panose="020B0609040504020204" pitchFamily="49" charset="0"/>
                </a:rPr>
                <a:t>ForegroundColor</a:t>
              </a:r>
              <a:r>
                <a:rPr lang="en-US" sz="1800">
                  <a:solidFill>
                    <a:prstClr val="black"/>
                  </a:solidFill>
                  <a:latin typeface="Lucida Console" panose="020B0609040504020204" pitchFamily="49" charset="0"/>
                </a:rPr>
                <a:t> </a:t>
              </a:r>
              <a:r>
                <a:rPr lang="en-US" sz="1800">
                  <a:solidFill>
                    <a:srgbClr val="8A2BE2"/>
                  </a:solidFill>
                  <a:latin typeface="Lucida Console" panose="020B0609040504020204" pitchFamily="49" charset="0"/>
                </a:rPr>
                <a:t>Yellow</a:t>
              </a:r>
              <a:endParaRPr lang="en-US" sz="1800">
                <a:solidFill>
                  <a:prstClr val="black"/>
                </a:solidFill>
                <a:latin typeface="Lucida Console" panose="020B0609040504020204" pitchFamily="49" charset="0"/>
              </a:endParaRPr>
            </a:p>
            <a:p>
              <a:pPr marL="0" indent="0">
                <a:buNone/>
              </a:pPr>
              <a:r>
                <a:rPr lang="en-US" sz="1800">
                  <a:solidFill>
                    <a:prstClr val="black"/>
                  </a:solidFill>
                  <a:latin typeface="Lucida Console" panose="020B0609040504020204" pitchFamily="49" charset="0"/>
                </a:rPr>
                <a:t>} </a:t>
              </a:r>
            </a:p>
            <a:p>
              <a:pPr marL="0" indent="0">
                <a:buNone/>
              </a:pPr>
              <a:r>
                <a:rPr lang="en-US" sz="1800">
                  <a:solidFill>
                    <a:srgbClr val="0000FF"/>
                  </a:solidFill>
                  <a:latin typeface="Lucida Console" panose="020B0609040504020204" pitchFamily="49" charset="0"/>
                </a:rPr>
                <a:t>Win-Lottery</a:t>
              </a:r>
              <a:endParaRPr lang="en-US" sz="1800">
                <a:solidFill>
                  <a:prstClr val="black"/>
                </a:solidFill>
                <a:latin typeface="Lucida Console" panose="020B0609040504020204" pitchFamily="49" charset="0"/>
              </a:endParaRPr>
            </a:p>
            <a:p>
              <a:pPr marL="0" indent="0">
                <a:buNone/>
              </a:pPr>
              <a:r>
                <a:rPr lang="en-US" sz="1800">
                  <a:solidFill>
                    <a:srgbClr val="0000FF"/>
                  </a:solidFill>
                  <a:latin typeface="Lucida Console" panose="020B0609040504020204" pitchFamily="49" charset="0"/>
                </a:rPr>
                <a:t>Write-Hos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Time to go shopping!!'</a:t>
              </a:r>
              <a:r>
                <a:rPr lang="en-US" sz="1800">
                  <a:solidFill>
                    <a:prstClr val="black"/>
                  </a:solidFill>
                  <a:latin typeface="Lucida Console" panose="020B0609040504020204" pitchFamily="49" charset="0"/>
                </a:rPr>
                <a:t> </a:t>
              </a:r>
              <a:r>
                <a:rPr lang="en-US" sz="1800">
                  <a:solidFill>
                    <a:srgbClr val="000080"/>
                  </a:solidFill>
                  <a:latin typeface="Lucida Console" panose="020B0609040504020204" pitchFamily="49" charset="0"/>
                </a:rPr>
                <a:t>-</a:t>
              </a:r>
              <a:r>
                <a:rPr lang="en-US" sz="1800" err="1">
                  <a:solidFill>
                    <a:srgbClr val="000080"/>
                  </a:solidFill>
                  <a:latin typeface="Lucida Console" panose="020B0609040504020204" pitchFamily="49" charset="0"/>
                </a:rPr>
                <a:t>ForegroundColor</a:t>
              </a:r>
              <a:r>
                <a:rPr lang="en-US" sz="1800">
                  <a:solidFill>
                    <a:prstClr val="black"/>
                  </a:solidFill>
                  <a:latin typeface="Lucida Console" panose="020B0609040504020204" pitchFamily="49" charset="0"/>
                </a:rPr>
                <a:t> </a:t>
              </a:r>
              <a:r>
                <a:rPr lang="en-US" sz="1800">
                  <a:solidFill>
                    <a:srgbClr val="8A2BE2"/>
                  </a:solidFill>
                  <a:latin typeface="Lucida Console" panose="020B0609040504020204" pitchFamily="49" charset="0"/>
                </a:rPr>
                <a:t>Green</a:t>
              </a:r>
              <a:r>
                <a:rPr lang="en-US" sz="1800">
                  <a:solidFill>
                    <a:prstClr val="black"/>
                  </a:solidFill>
                  <a:latin typeface="Lucida Console" panose="020B0609040504020204" pitchFamily="49" charset="0"/>
                </a:rPr>
                <a:t> </a:t>
              </a:r>
            </a:p>
            <a:p>
              <a:pPr marL="0" indent="0">
                <a:buNone/>
              </a:pPr>
              <a:r>
                <a:rPr lang="en-US" sz="1800">
                  <a:solidFill>
                    <a:srgbClr val="696969"/>
                  </a:solidFill>
                  <a:latin typeface="Lucida Console" panose="020B0609040504020204" pitchFamily="49" charset="0"/>
                </a:rPr>
                <a:t>[</a:t>
              </a:r>
              <a:r>
                <a:rPr lang="en-US" sz="1800">
                  <a:solidFill>
                    <a:srgbClr val="006161"/>
                  </a:solidFill>
                  <a:latin typeface="Lucida Console" panose="020B0609040504020204" pitchFamily="49" charset="0"/>
                </a:rPr>
                <a:t>int</a:t>
              </a:r>
              <a:r>
                <a:rPr lang="en-US" sz="1800">
                  <a:solidFill>
                    <a:srgbClr val="696969"/>
                  </a:solidFill>
                  <a:latin typeface="Lucida Console" panose="020B0609040504020204" pitchFamily="49" charset="0"/>
                </a:rPr>
                <a:t>]</a:t>
              </a:r>
              <a:r>
                <a:rPr lang="en-US" sz="1800">
                  <a:solidFill>
                    <a:srgbClr val="8B0000"/>
                  </a:solidFill>
                  <a:latin typeface="Lucida Console" panose="020B0609040504020204" pitchFamily="49" charset="0"/>
                </a:rPr>
                <a:t>"a"</a:t>
              </a:r>
              <a:r>
                <a:rPr lang="en-US" sz="1800">
                  <a:solidFill>
                    <a:prstClr val="black"/>
                  </a:solidFill>
                  <a:latin typeface="Lucida Console" panose="020B0609040504020204" pitchFamily="49" charset="0"/>
                </a:rPr>
                <a:t> </a:t>
              </a:r>
            </a:p>
          </p:txBody>
        </p:sp>
      </p:grpSp>
    </p:spTree>
    <p:custDataLst>
      <p:tags r:id="rId1"/>
    </p:custDataLst>
    <p:extLst>
      <p:ext uri="{BB962C8B-B14F-4D97-AF65-F5344CB8AC3E}">
        <p14:creationId xmlns:p14="http://schemas.microsoft.com/office/powerpoint/2010/main" val="4275568568"/>
      </p:ext>
    </p:extLst>
  </p:cSld>
  <p:clrMapOvr>
    <a:masterClrMapping/>
  </p:clrMapOvr>
  <p:transition spd="slow"/>
</p:sld>
</file>

<file path=ppt/slides/slide4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atching Terminating Errors using Trap</a:t>
            </a:r>
          </a:p>
        </p:txBody>
      </p:sp>
      <p:pic>
        <p:nvPicPr>
          <p:cNvPr id="5" name="Demo 01" descr="A person standing in front of a screen.">
            <a:extLst>
              <a:ext uri="{FF2B5EF4-FFF2-40B4-BE49-F238E27FC236}">
                <a16:creationId xmlns:a16="http://schemas.microsoft.com/office/drawing/2014/main" id="{B1DD10AA-70E7-4B97-A20F-7BC25090E378}"/>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478485748"/>
      </p:ext>
    </p:extLst>
  </p:cSld>
  <p:clrMapOvr>
    <a:masterClrMapping/>
  </p:clrMapOvr>
  <p:transition spd="slow"/>
</p:sld>
</file>

<file path=ppt/slides/slide4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6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Handling Terminating Errors using</a:t>
            </a:r>
            <a:br>
              <a:rPr lang="en-US"/>
            </a:br>
            <a:r>
              <a:rPr lang="en-US"/>
              <a:t>   - Try { } … Catch { } … Finally { }</a:t>
            </a:r>
          </a:p>
        </p:txBody>
      </p:sp>
    </p:spTree>
    <p:custDataLst>
      <p:tags r:id="rId1"/>
    </p:custDataLst>
    <p:extLst>
      <p:ext uri="{BB962C8B-B14F-4D97-AF65-F5344CB8AC3E}">
        <p14:creationId xmlns:p14="http://schemas.microsoft.com/office/powerpoint/2010/main" val="3113678837"/>
      </p:ext>
    </p:extLst>
  </p:cSld>
  <p:clrMapOvr>
    <a:masterClrMapping/>
  </p:clrMapOvr>
  <p:transition spd="slow"/>
</p:sld>
</file>

<file path=ppt/slides/slide4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y { } … catch { } … finally { }</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138350267"/>
              </p:ext>
            </p:extLst>
          </p:nvPr>
        </p:nvGraphicFramePr>
        <p:xfrm>
          <a:off x="655638" y="990600"/>
          <a:ext cx="10880725" cy="55473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191083559"/>
      </p:ext>
    </p:extLst>
  </p:cSld>
  <p:clrMapOvr>
    <a:masterClrMapping/>
  </p:clrMapOvr>
  <p:transition spd="slow"/>
</p:sld>
</file>

<file path=ppt/slides/slide5.xml><?xml version="1.0" encoding="utf-8"?>
<p:sld xmlns:adec="http://schemas.microsoft.com/office/drawing/2017/decorative"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nderstanding Streams</a:t>
            </a:r>
          </a:p>
        </p:txBody>
      </p:sp>
      <p:graphicFrame>
        <p:nvGraphicFramePr>
          <p:cNvPr id="5" name="Content Placeholder 4">
            <a:extLs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3492410194"/>
              </p:ext>
            </p:extLst>
          </p:nvPr>
        </p:nvGraphicFramePr>
        <p:xfrm>
          <a:off x="655638" y="550872"/>
          <a:ext cx="11231562" cy="55805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379602112"/>
      </p:ext>
    </p:extLst>
  </p:cSld>
  <p:clrMapOvr>
    <a:masterClrMapping/>
  </p:clrMapOvr>
  <p:transition spd="slow"/>
  <p:extLst>
    <p:ext uri="{6950BFC3-D8DA-4A85-94F7-54DA5524770B}">
      <p188:commentRel xmlns:p188="http://schemas.microsoft.com/office/powerpoint/2018/8/main" r:id="rId4"/>
    </p:ext>
  </p:extLst>
</p:sld>
</file>

<file path=ppt/slides/slide5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y / Catch / Finally</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541675536"/>
              </p:ext>
            </p:extLst>
          </p:nvPr>
        </p:nvGraphicFramePr>
        <p:xfrm>
          <a:off x="655638" y="990600"/>
          <a:ext cx="10880725" cy="55473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2573044"/>
      </p:ext>
    </p:extLst>
  </p:cSld>
  <p:clrMapOvr>
    <a:masterClrMapping/>
  </p:clrMapOvr>
  <p:transition spd="slow"/>
</p:sld>
</file>

<file path=ppt/slides/slide52.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y / Catch / Finally</a:t>
            </a:r>
          </a:p>
        </p:txBody>
      </p:sp>
      <p:graphicFrame>
        <p:nvGraphicFramePr>
          <p:cNvPr id="3" name="Content Placeholder 2">
            <a:extLst>
              <a:ext uri="{FF2B5EF4-FFF2-40B4-BE49-F238E27FC236}">
                <a16:creationId xmlns:a16="http://schemas.microsoft.com/office/drawing/2014/main" id="{D0E0DB5C-7432-4211-B55B-5D6CE03F2884}"/>
              </a:ext>
            </a:extLst>
          </p:cNvPr>
          <p:cNvGraphicFramePr>
            <a:graphicFrameLocks noGrp="1"/>
          </p:cNvGraphicFramePr>
          <p:nvPr>
            <p:ph sz="quarter" idx="13"/>
            <p:extLst>
              <p:ext uri="{D42A27DB-BD31-4B8C-83A1-F6EECF244321}">
                <p14:modId xmlns:p14="http://schemas.microsoft.com/office/powerpoint/2010/main" val="1609437281"/>
              </p:ext>
            </p:extLst>
          </p:nvPr>
        </p:nvGraphicFramePr>
        <p:xfrm>
          <a:off x="655639" y="990599"/>
          <a:ext cx="5862392" cy="565638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Code Box">
            <a:extLst>
              <a:ext uri="{FF2B5EF4-FFF2-40B4-BE49-F238E27FC236}">
                <a16:creationId xmlns:a16="http://schemas.microsoft.com/office/drawing/2014/main" id="{47C64561-4F64-42EB-B3D5-1959931B41FF}"/>
              </a:ext>
            </a:extLst>
          </p:cNvPr>
          <p:cNvSpPr/>
          <p:nvPr>
            <p:custDataLst>
              <p:tags r:id="rId2"/>
            </p:custDataLst>
          </p:nvPr>
        </p:nvSpPr>
        <p:spPr>
          <a:xfrm>
            <a:off x="6610961" y="1019173"/>
            <a:ext cx="5440362" cy="5534027"/>
          </a:xfrm>
          <a:prstGeom prst="rect">
            <a:avLst/>
          </a:prstGeom>
          <a:solidFill>
            <a:srgbClr val="012456"/>
          </a:solidFill>
        </p:spPr>
        <p:txBody>
          <a:bodyPr wrap="square">
            <a:noAutofit/>
          </a:bodyPr>
          <a:lstStyle/>
          <a:p>
            <a:r>
              <a:rPr lang="en-US" sz="2200" dirty="0">
                <a:solidFill>
                  <a:srgbClr val="E0FFFF"/>
                </a:solidFill>
                <a:latin typeface="Lucida Console" panose="020B0609040504020204" pitchFamily="49" charset="0"/>
              </a:rPr>
              <a:t>Try</a:t>
            </a:r>
            <a:r>
              <a:rPr lang="en-US" sz="2200" dirty="0">
                <a:solidFill>
                  <a:srgbClr val="F5F5F5"/>
                </a:solidFill>
                <a:latin typeface="Lucida Console" panose="020B0609040504020204" pitchFamily="49" charset="0"/>
              </a:rPr>
              <a:t> {</a:t>
            </a:r>
          </a:p>
          <a:p>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lt;</a:t>
            </a:r>
            <a:r>
              <a:rPr lang="en-US" sz="2200" dirty="0">
                <a:solidFill>
                  <a:srgbClr val="EE82EE"/>
                </a:solidFill>
                <a:latin typeface="Lucida Console" panose="020B0609040504020204" pitchFamily="49" charset="0"/>
              </a:rPr>
              <a:t>Code</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that</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could</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cause</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terminating</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errors</a:t>
            </a:r>
            <a:r>
              <a:rPr lang="en-US" sz="2200" dirty="0">
                <a:solidFill>
                  <a:srgbClr val="D3D3D3"/>
                </a:solidFill>
                <a:latin typeface="Lucida Console" panose="020B0609040504020204" pitchFamily="49" charset="0"/>
              </a:rPr>
              <a:t>&gt;</a:t>
            </a:r>
          </a:p>
          <a:p>
            <a:r>
              <a:rPr lang="en-US" sz="2200" dirty="0">
                <a:solidFill>
                  <a:srgbClr val="F5F5F5"/>
                </a:solidFill>
                <a:latin typeface="Lucida Console" panose="020B0609040504020204" pitchFamily="49" charset="0"/>
              </a:rPr>
              <a:t>}</a:t>
            </a:r>
          </a:p>
          <a:p>
            <a:r>
              <a:rPr lang="en-US" sz="2200" dirty="0">
                <a:solidFill>
                  <a:srgbClr val="E0FFFF"/>
                </a:solidFill>
                <a:latin typeface="Lucida Console" panose="020B0609040504020204" pitchFamily="49" charset="0"/>
              </a:rPr>
              <a:t>Catch</a:t>
            </a:r>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a:t>
            </a:r>
            <a:r>
              <a:rPr lang="en-US" sz="2200" dirty="0">
                <a:solidFill>
                  <a:srgbClr val="8FBC8F"/>
                </a:solidFill>
                <a:latin typeface="Lucida Console" panose="020B0609040504020204" pitchFamily="49" charset="0"/>
              </a:rPr>
              <a:t>Exception</a:t>
            </a:r>
            <a:r>
              <a:rPr lang="en-US" sz="2200" dirty="0">
                <a:solidFill>
                  <a:srgbClr val="F5F5F5"/>
                </a:solidFill>
                <a:latin typeface="Lucida Console" panose="020B0609040504020204" pitchFamily="49" charset="0"/>
              </a:rPr>
              <a:t> </a:t>
            </a:r>
            <a:r>
              <a:rPr lang="en-US" sz="2200" dirty="0">
                <a:solidFill>
                  <a:srgbClr val="E0FFFF"/>
                </a:solidFill>
                <a:latin typeface="Lucida Console" panose="020B0609040504020204" pitchFamily="49" charset="0"/>
              </a:rPr>
              <a:t>Type1] </a:t>
            </a:r>
            <a:r>
              <a:rPr lang="en-US" sz="2200" dirty="0">
                <a:solidFill>
                  <a:srgbClr val="F5F5F5"/>
                </a:solidFill>
                <a:latin typeface="Lucida Console" panose="020B0609040504020204" pitchFamily="49" charset="0"/>
              </a:rPr>
              <a:t>{</a:t>
            </a:r>
          </a:p>
          <a:p>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lt;</a:t>
            </a:r>
            <a:r>
              <a:rPr lang="en-US" sz="2200" dirty="0">
                <a:solidFill>
                  <a:srgbClr val="EE82EE"/>
                </a:solidFill>
                <a:latin typeface="Lucida Console" panose="020B0609040504020204" pitchFamily="49" charset="0"/>
              </a:rPr>
              <a:t>Error</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handling code</a:t>
            </a:r>
            <a:r>
              <a:rPr lang="en-US" sz="2200" dirty="0">
                <a:solidFill>
                  <a:srgbClr val="D3D3D3"/>
                </a:solidFill>
                <a:latin typeface="Lucida Console" panose="020B0609040504020204" pitchFamily="49" charset="0"/>
              </a:rPr>
              <a:t>&gt;</a:t>
            </a:r>
          </a:p>
          <a:p>
            <a:r>
              <a:rPr lang="en-US" sz="2200" dirty="0">
                <a:solidFill>
                  <a:srgbClr val="F5F5F5"/>
                </a:solidFill>
                <a:latin typeface="Lucida Console" panose="020B0609040504020204" pitchFamily="49" charset="0"/>
              </a:rPr>
              <a:t>}</a:t>
            </a:r>
          </a:p>
          <a:p>
            <a:r>
              <a:rPr lang="en-US" sz="2200" dirty="0">
                <a:solidFill>
                  <a:srgbClr val="E0FFFF"/>
                </a:solidFill>
                <a:latin typeface="Lucida Console" panose="020B0609040504020204" pitchFamily="49" charset="0"/>
              </a:rPr>
              <a:t>Catch</a:t>
            </a:r>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a:t>
            </a:r>
            <a:r>
              <a:rPr lang="en-US" sz="2200" dirty="0">
                <a:solidFill>
                  <a:srgbClr val="8FBC8F"/>
                </a:solidFill>
                <a:latin typeface="Lucida Console" panose="020B0609040504020204" pitchFamily="49" charset="0"/>
              </a:rPr>
              <a:t>Exception</a:t>
            </a:r>
            <a:r>
              <a:rPr lang="en-US" sz="2200" dirty="0">
                <a:solidFill>
                  <a:srgbClr val="F5F5F5"/>
                </a:solidFill>
                <a:latin typeface="Lucida Console" panose="020B0609040504020204" pitchFamily="49" charset="0"/>
              </a:rPr>
              <a:t> </a:t>
            </a:r>
            <a:r>
              <a:rPr lang="en-US" sz="2200" dirty="0">
                <a:solidFill>
                  <a:srgbClr val="E0FFFF"/>
                </a:solidFill>
                <a:latin typeface="Lucida Console" panose="020B0609040504020204" pitchFamily="49" charset="0"/>
              </a:rPr>
              <a:t>Type2]</a:t>
            </a:r>
            <a:r>
              <a:rPr lang="en-US" sz="2200" dirty="0">
                <a:solidFill>
                  <a:srgbClr val="D3D3D3"/>
                </a:solidFill>
                <a:latin typeface="Lucida Console" panose="020B0609040504020204" pitchFamily="49" charset="0"/>
              </a:rPr>
              <a:t> </a:t>
            </a:r>
            <a:r>
              <a:rPr lang="en-US" sz="2200" dirty="0">
                <a:solidFill>
                  <a:srgbClr val="F5F5F5"/>
                </a:solidFill>
                <a:latin typeface="Lucida Console" panose="020B0609040504020204" pitchFamily="49" charset="0"/>
              </a:rPr>
              <a:t>{</a:t>
            </a:r>
          </a:p>
          <a:p>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lt;</a:t>
            </a:r>
            <a:r>
              <a:rPr lang="en-US" sz="2200" dirty="0">
                <a:solidFill>
                  <a:srgbClr val="EE82EE"/>
                </a:solidFill>
                <a:latin typeface="Lucida Console" panose="020B0609040504020204" pitchFamily="49" charset="0"/>
              </a:rPr>
              <a:t>Error</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handling code</a:t>
            </a:r>
            <a:r>
              <a:rPr lang="en-US" sz="2200" dirty="0">
                <a:solidFill>
                  <a:srgbClr val="D3D3D3"/>
                </a:solidFill>
                <a:latin typeface="Lucida Console" panose="020B0609040504020204" pitchFamily="49" charset="0"/>
              </a:rPr>
              <a:t>&gt;</a:t>
            </a:r>
          </a:p>
          <a:p>
            <a:r>
              <a:rPr lang="en-US" sz="2200" dirty="0">
                <a:solidFill>
                  <a:srgbClr val="F5F5F5"/>
                </a:solidFill>
                <a:latin typeface="Lucida Console" panose="020B0609040504020204" pitchFamily="49" charset="0"/>
              </a:rPr>
              <a:t>}</a:t>
            </a:r>
          </a:p>
          <a:p>
            <a:r>
              <a:rPr lang="en-US" sz="2200" dirty="0">
                <a:solidFill>
                  <a:srgbClr val="E0FFFF"/>
                </a:solidFill>
                <a:latin typeface="Lucida Console" panose="020B0609040504020204" pitchFamily="49" charset="0"/>
              </a:rPr>
              <a:t>Catch </a:t>
            </a:r>
            <a:r>
              <a:rPr lang="en-US" sz="2200" dirty="0">
                <a:solidFill>
                  <a:srgbClr val="F5F5F5"/>
                </a:solidFill>
                <a:latin typeface="Lucida Console" panose="020B0609040504020204" pitchFamily="49" charset="0"/>
              </a:rPr>
              <a:t>{</a:t>
            </a:r>
          </a:p>
          <a:p>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lt;</a:t>
            </a:r>
            <a:r>
              <a:rPr lang="en-US" sz="2200" dirty="0">
                <a:solidFill>
                  <a:srgbClr val="EE82EE"/>
                </a:solidFill>
                <a:latin typeface="Lucida Console" panose="020B0609040504020204" pitchFamily="49" charset="0"/>
              </a:rPr>
              <a:t>Handle</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uncaught</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errors</a:t>
            </a:r>
            <a:r>
              <a:rPr lang="en-US" sz="2200" dirty="0">
                <a:solidFill>
                  <a:srgbClr val="D3D3D3"/>
                </a:solidFill>
                <a:latin typeface="Lucida Console" panose="020B0609040504020204" pitchFamily="49" charset="0"/>
              </a:rPr>
              <a:t>&gt;</a:t>
            </a:r>
          </a:p>
          <a:p>
            <a:r>
              <a:rPr lang="en-US" sz="2200" dirty="0">
                <a:solidFill>
                  <a:srgbClr val="F5F5F5"/>
                </a:solidFill>
                <a:latin typeface="Lucida Console" panose="020B0609040504020204" pitchFamily="49" charset="0"/>
              </a:rPr>
              <a:t>}</a:t>
            </a:r>
          </a:p>
          <a:p>
            <a:r>
              <a:rPr lang="en-US" sz="2200" dirty="0">
                <a:solidFill>
                  <a:srgbClr val="E0FFFF"/>
                </a:solidFill>
                <a:latin typeface="Lucida Console" panose="020B0609040504020204" pitchFamily="49" charset="0"/>
              </a:rPr>
              <a:t>Finally </a:t>
            </a:r>
            <a:r>
              <a:rPr lang="en-US" sz="2200" dirty="0">
                <a:solidFill>
                  <a:srgbClr val="F5F5F5"/>
                </a:solidFill>
                <a:latin typeface="Lucida Console" panose="020B0609040504020204" pitchFamily="49" charset="0"/>
              </a:rPr>
              <a:t>{</a:t>
            </a:r>
          </a:p>
          <a:p>
            <a:r>
              <a:rPr lang="en-US" sz="2200" dirty="0">
                <a:solidFill>
                  <a:srgbClr val="F5F5F5"/>
                </a:solidFill>
                <a:latin typeface="Lucida Console" panose="020B0609040504020204" pitchFamily="49" charset="0"/>
              </a:rPr>
              <a:t>    </a:t>
            </a:r>
            <a:r>
              <a:rPr lang="en-US" sz="2200" dirty="0">
                <a:solidFill>
                  <a:srgbClr val="D3D3D3"/>
                </a:solidFill>
                <a:latin typeface="Lucida Console" panose="020B0609040504020204" pitchFamily="49" charset="0"/>
              </a:rPr>
              <a:t>&lt;</a:t>
            </a:r>
            <a:r>
              <a:rPr lang="en-US" sz="2200" dirty="0">
                <a:solidFill>
                  <a:srgbClr val="EE82EE"/>
                </a:solidFill>
                <a:latin typeface="Lucida Console" panose="020B0609040504020204" pitchFamily="49" charset="0"/>
              </a:rPr>
              <a:t>Clean</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up</a:t>
            </a:r>
            <a:r>
              <a:rPr lang="en-US" sz="2200" dirty="0">
                <a:solidFill>
                  <a:srgbClr val="F5F5F5"/>
                </a:solidFill>
                <a:latin typeface="Lucida Console" panose="020B0609040504020204" pitchFamily="49" charset="0"/>
              </a:rPr>
              <a:t> </a:t>
            </a:r>
            <a:r>
              <a:rPr lang="en-US" sz="2200" dirty="0">
                <a:solidFill>
                  <a:srgbClr val="EE82EE"/>
                </a:solidFill>
                <a:latin typeface="Lucida Console" panose="020B0609040504020204" pitchFamily="49" charset="0"/>
              </a:rPr>
              <a:t>code</a:t>
            </a:r>
            <a:r>
              <a:rPr lang="en-US" sz="2200" dirty="0">
                <a:solidFill>
                  <a:srgbClr val="D3D3D3"/>
                </a:solidFill>
                <a:latin typeface="Lucida Console" panose="020B0609040504020204" pitchFamily="49" charset="0"/>
              </a:rPr>
              <a:t>&gt;</a:t>
            </a:r>
          </a:p>
          <a:p>
            <a:r>
              <a:rPr lang="en-US" sz="2200"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4032653899"/>
      </p:ext>
    </p:extLst>
  </p:cSld>
  <p:clrMapOvr>
    <a:masterClrMapping/>
  </p:clrMapOvr>
  <p:transition spd="slow"/>
  <p:extLst>
    <p:ext uri="{6950BFC3-D8DA-4A85-94F7-54DA5524770B}">
      <p188:commentRel xmlns:p188="http://schemas.microsoft.com/office/powerpoint/2018/8/main" r:id="rId5"/>
    </p:ext>
  </p:extLst>
</p:sld>
</file>

<file path=ppt/slides/slide5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8C3FC-19BF-45CB-8E9D-94B092C8179D}"/>
              </a:ext>
            </a:extLst>
          </p:cNvPr>
          <p:cNvSpPr>
            <a:spLocks noGrp="1"/>
          </p:cNvSpPr>
          <p:nvPr>
            <p:ph type="title"/>
          </p:nvPr>
        </p:nvSpPr>
        <p:spPr/>
        <p:txBody>
          <a:bodyPr/>
          <a:lstStyle/>
          <a:p>
            <a:r>
              <a:rPr lang="en-US"/>
              <a:t>Example: Try/Catch/Finally</a:t>
            </a:r>
          </a:p>
        </p:txBody>
      </p:sp>
      <p:sp>
        <p:nvSpPr>
          <p:cNvPr id="9" name="Code Box">
            <a:extLst>
              <a:ext uri="{FF2B5EF4-FFF2-40B4-BE49-F238E27FC236}">
                <a16:creationId xmlns:a16="http://schemas.microsoft.com/office/drawing/2014/main" id="{02B60DD8-EFE6-4E4F-A6A0-56F59F7F6D5C}"/>
              </a:ext>
            </a:extLst>
          </p:cNvPr>
          <p:cNvSpPr/>
          <p:nvPr>
            <p:custDataLst>
              <p:tags r:id="rId2"/>
            </p:custDataLst>
          </p:nvPr>
        </p:nvSpPr>
        <p:spPr>
          <a:xfrm>
            <a:off x="655638" y="840152"/>
            <a:ext cx="10880725" cy="5941648"/>
          </a:xfrm>
          <a:prstGeom prst="rect">
            <a:avLst/>
          </a:prstGeom>
          <a:solidFill>
            <a:srgbClr val="012456"/>
          </a:solidFill>
        </p:spPr>
        <p:txBody>
          <a:bodyPr wrap="square">
            <a:noAutofit/>
          </a:bodyPr>
          <a:lstStyle/>
          <a:p>
            <a:pPr lvl="0" defTabSz="457200">
              <a:defRPr/>
            </a:pPr>
            <a:r>
              <a:rPr lang="en-US" sz="2000" dirty="0">
                <a:solidFill>
                  <a:srgbClr val="F5F5F5"/>
                </a:solidFill>
                <a:latin typeface="Lucida Console" panose="020B0609040504020204" pitchFamily="49" charset="0"/>
              </a:rPr>
              <a:t>try </a:t>
            </a:r>
            <a:r>
              <a:rPr lang="en-US" sz="2000" dirty="0">
                <a:solidFill>
                  <a:schemeClr val="lt1"/>
                </a:solidFill>
                <a:latin typeface="Lucida Console" panose="020B0609040504020204" pitchFamily="49" charset="0"/>
              </a:rPr>
              <a:t>{</a:t>
            </a:r>
          </a:p>
          <a:p>
            <a:pPr lvl="0" defTabSz="457200">
              <a:defRPr/>
            </a:pPr>
            <a:r>
              <a:rPr lang="en-US" sz="2000" dirty="0">
                <a:solidFill>
                  <a:prstClr val="black"/>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wc</a:t>
            </a:r>
            <a:r>
              <a:rPr lang="en-US" sz="2000" dirty="0">
                <a:solidFill>
                  <a:prstClr val="black"/>
                </a:solidFill>
                <a:latin typeface="Lucida Console" panose="020B0609040504020204" pitchFamily="49" charset="0"/>
              </a:rPr>
              <a:t> </a:t>
            </a:r>
            <a:r>
              <a:rPr lang="en-US" sz="2000" dirty="0">
                <a:solidFill>
                  <a:srgbClr val="A9A9A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F5F5F5"/>
                </a:solidFill>
                <a:latin typeface="Lucida Console" panose="020B0609040504020204" pitchFamily="49" charset="0"/>
              </a:rPr>
              <a:t>New-Object</a:t>
            </a:r>
            <a:r>
              <a:rPr lang="en-US" sz="2000" dirty="0">
                <a:solidFill>
                  <a:prstClr val="black"/>
                </a:solidFill>
                <a:latin typeface="Lucida Console" panose="020B0609040504020204" pitchFamily="49" charset="0"/>
              </a:rPr>
              <a:t> </a:t>
            </a:r>
            <a:r>
              <a:rPr lang="en-US" sz="2000" dirty="0" err="1">
                <a:solidFill>
                  <a:srgbClr val="8A2BE2"/>
                </a:solidFill>
                <a:latin typeface="Lucida Console" panose="020B0609040504020204" pitchFamily="49" charset="0"/>
              </a:rPr>
              <a:t>System.Net.WebClient</a:t>
            </a:r>
            <a:endParaRPr lang="en-US" sz="2000" dirty="0">
              <a:solidFill>
                <a:srgbClr val="8A2BE2"/>
              </a:solidFill>
              <a:latin typeface="Lucida Console" panose="020B0609040504020204" pitchFamily="49" charset="0"/>
            </a:endParaRPr>
          </a:p>
          <a:p>
            <a:pPr lvl="0" defTabSz="457200">
              <a:defRPr/>
            </a:pPr>
            <a:r>
              <a:rPr lang="en-US" sz="2000" dirty="0">
                <a:solidFill>
                  <a:prstClr val="black"/>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wc</a:t>
            </a:r>
            <a:r>
              <a:rPr lang="en-US" sz="2000" dirty="0" err="1">
                <a:solidFill>
                  <a:srgbClr val="A9A9A9"/>
                </a:solidFill>
                <a:latin typeface="Lucida Console" panose="020B0609040504020204" pitchFamily="49" charset="0"/>
              </a:rPr>
              <a:t>.</a:t>
            </a:r>
            <a:r>
              <a:rPr lang="en-US" sz="2000" dirty="0" err="1">
                <a:solidFill>
                  <a:schemeClr val="lt1"/>
                </a:solidFill>
                <a:latin typeface="Lucida Console" panose="020B0609040504020204" pitchFamily="49" charset="0"/>
              </a:rPr>
              <a:t>DownloadData</a:t>
            </a:r>
            <a:r>
              <a:rPr lang="en-US" sz="2000" dirty="0">
                <a:solidFill>
                  <a:schemeClr val="lt1"/>
                </a:solidFill>
                <a:latin typeface="Lucida Console" panose="020B0609040504020204" pitchFamily="49" charset="0"/>
              </a:rPr>
              <a:t>(</a:t>
            </a:r>
            <a:r>
              <a:rPr lang="en-US" sz="2000" dirty="0">
                <a:solidFill>
                  <a:srgbClr val="DB7093"/>
                </a:solidFill>
                <a:latin typeface="Lucida Console" panose="020B0609040504020204" pitchFamily="49" charset="0"/>
              </a:rPr>
              <a:t>"http://www.contoso.com/MyDoc.doc"</a:t>
            </a:r>
            <a:r>
              <a:rPr lang="en-US" sz="2000" dirty="0">
                <a:solidFill>
                  <a:schemeClr val="lt1"/>
                </a:solidFill>
                <a:latin typeface="Lucida Console" panose="020B0609040504020204" pitchFamily="49" charset="0"/>
              </a:rPr>
              <a:t>)</a:t>
            </a:r>
          </a:p>
          <a:p>
            <a:pPr lvl="0" defTabSz="457200">
              <a:defRPr/>
            </a:pPr>
            <a:r>
              <a:rPr lang="en-US" sz="2000" dirty="0">
                <a:solidFill>
                  <a:schemeClr val="lt1"/>
                </a:solidFill>
                <a:latin typeface="Lucida Console" panose="020B0609040504020204" pitchFamily="49" charset="0"/>
              </a:rPr>
              <a:t>}</a:t>
            </a:r>
          </a:p>
          <a:p>
            <a:pPr lvl="0" defTabSz="457200">
              <a:defRPr/>
            </a:pPr>
            <a:r>
              <a:rPr lang="en-US" sz="2000" dirty="0">
                <a:solidFill>
                  <a:srgbClr val="F5F5F5"/>
                </a:solidFill>
                <a:latin typeface="Lucida Console" panose="020B0609040504020204" pitchFamily="49" charset="0"/>
              </a:rPr>
              <a:t>Catch</a:t>
            </a:r>
            <a:r>
              <a:rPr lang="en-US" sz="2000" dirty="0">
                <a:solidFill>
                  <a:prstClr val="black"/>
                </a:solidFill>
                <a:latin typeface="Lucida Console" panose="020B0609040504020204" pitchFamily="49" charset="0"/>
              </a:rPr>
              <a:t> </a:t>
            </a:r>
            <a:r>
              <a:rPr lang="en-US" sz="2000" dirty="0">
                <a:solidFill>
                  <a:schemeClr val="lt1"/>
                </a:solidFill>
                <a:latin typeface="Lucida Console" panose="020B0609040504020204" pitchFamily="49" charset="0"/>
              </a:rPr>
              <a:t>[</a:t>
            </a:r>
            <a:r>
              <a:rPr lang="en-US" sz="2000" dirty="0" err="1">
                <a:solidFill>
                  <a:srgbClr val="8FBC8F"/>
                </a:solidFill>
                <a:latin typeface="Lucida Console" panose="020B0609040504020204" pitchFamily="49" charset="0"/>
              </a:rPr>
              <a:t>System.Net.WebException</a:t>
            </a:r>
            <a:r>
              <a:rPr lang="en-US" sz="2000" dirty="0">
                <a:solidFill>
                  <a:schemeClr val="lt1"/>
                </a:solidFill>
                <a:latin typeface="Lucida Console" panose="020B0609040504020204" pitchFamily="49" charset="0"/>
              </a:rPr>
              <a:t>]</a:t>
            </a:r>
            <a:r>
              <a:rPr lang="en-US" sz="2000" dirty="0">
                <a:solidFill>
                  <a:srgbClr val="A9A9A9"/>
                </a:solidFill>
                <a:latin typeface="Lucida Console" panose="020B0609040504020204" pitchFamily="49" charset="0"/>
              </a:rPr>
              <a:t>,</a:t>
            </a:r>
            <a:r>
              <a:rPr lang="en-US" sz="2000" dirty="0">
                <a:solidFill>
                  <a:schemeClr val="lt1"/>
                </a:solidFill>
                <a:latin typeface="Lucida Console" panose="020B0609040504020204" pitchFamily="49" charset="0"/>
              </a:rPr>
              <a:t>[</a:t>
            </a:r>
            <a:r>
              <a:rPr lang="en-US" sz="2000" dirty="0" err="1">
                <a:solidFill>
                  <a:srgbClr val="8FBC8F"/>
                </a:solidFill>
                <a:latin typeface="Lucida Console" panose="020B0609040504020204" pitchFamily="49" charset="0"/>
              </a:rPr>
              <a:t>System.IO.IOException</a:t>
            </a:r>
            <a:r>
              <a:rPr lang="en-US" sz="2000" dirty="0">
                <a:solidFill>
                  <a:schemeClr val="lt1"/>
                </a:solidFill>
                <a:latin typeface="Lucida Console" panose="020B0609040504020204" pitchFamily="49" charset="0"/>
              </a:rPr>
              <a:t>] {</a:t>
            </a:r>
          </a:p>
          <a:p>
            <a:r>
              <a:rPr lang="en-US" sz="2000" dirty="0">
                <a:solidFill>
                  <a:prstClr val="black"/>
                </a:solidFill>
                <a:latin typeface="Lucida Console" panose="020B0609040504020204" pitchFamily="49" charset="0"/>
              </a:rPr>
              <a:t>    </a:t>
            </a:r>
            <a:r>
              <a:rPr lang="en-US" sz="2000" dirty="0">
                <a:solidFill>
                  <a:srgbClr val="DB7093"/>
                </a:solidFill>
                <a:latin typeface="Lucida Console" panose="020B0609040504020204" pitchFamily="49" charset="0"/>
              </a:rPr>
              <a:t>"Cannot get MyDoc.doc from http://www.contoso.com" </a:t>
            </a:r>
          </a:p>
          <a:p>
            <a:pPr lvl="0" defTabSz="457200">
              <a:defRPr/>
            </a:pPr>
            <a:r>
              <a:rPr lang="en-US" sz="2000" dirty="0">
                <a:solidFill>
                  <a:schemeClr val="lt1"/>
                </a:solidFill>
                <a:latin typeface="Lucida Console" panose="020B0609040504020204" pitchFamily="49" charset="0"/>
              </a:rPr>
              <a:t>}</a:t>
            </a:r>
          </a:p>
          <a:p>
            <a:pPr lvl="0" defTabSz="457200">
              <a:defRPr/>
            </a:pPr>
            <a:r>
              <a:rPr lang="en-US" sz="2000" dirty="0">
                <a:solidFill>
                  <a:srgbClr val="F5F5F5"/>
                </a:solidFill>
                <a:latin typeface="Lucida Console" panose="020B0609040504020204" pitchFamily="49" charset="0"/>
              </a:rPr>
              <a:t>Catch </a:t>
            </a:r>
            <a:r>
              <a:rPr lang="en-US" sz="2000" dirty="0">
                <a:solidFill>
                  <a:schemeClr val="lt1"/>
                </a:solidFill>
                <a:latin typeface="Lucida Console" panose="020B0609040504020204" pitchFamily="49" charset="0"/>
              </a:rPr>
              <a:t>{</a:t>
            </a:r>
          </a:p>
          <a:p>
            <a:pPr lvl="0" defTabSz="457200">
              <a:defRPr/>
            </a:pPr>
            <a:r>
              <a:rPr lang="en-US" sz="2000" dirty="0">
                <a:solidFill>
                  <a:prstClr val="black"/>
                </a:solidFill>
                <a:latin typeface="Lucida Console" panose="020B0609040504020204" pitchFamily="49" charset="0"/>
              </a:rPr>
              <a:t>    </a:t>
            </a:r>
            <a:r>
              <a:rPr lang="en-US" sz="2000" dirty="0">
                <a:solidFill>
                  <a:srgbClr val="DB7093"/>
                </a:solidFill>
                <a:latin typeface="Lucida Console" panose="020B0609040504020204" pitchFamily="49" charset="0"/>
              </a:rPr>
              <a:t>"An error occurred that could not be resolved."</a:t>
            </a:r>
          </a:p>
          <a:p>
            <a:pPr lvl="0" defTabSz="457200">
              <a:defRPr/>
            </a:pPr>
            <a:r>
              <a:rPr lang="en-US" sz="2000" dirty="0">
                <a:solidFill>
                  <a:prstClr val="white"/>
                </a:solidFill>
                <a:latin typeface="Lucida Console" panose="020B0609040504020204" pitchFamily="49" charset="0"/>
              </a:rPr>
              <a:t>     </a:t>
            </a:r>
            <a:r>
              <a:rPr lang="en-US" sz="2000" dirty="0">
                <a:solidFill>
                  <a:srgbClr val="FF4500"/>
                </a:solidFill>
                <a:latin typeface="Lucida Console" panose="020B0609040504020204" pitchFamily="49" charset="0"/>
              </a:rPr>
              <a:t>$_</a:t>
            </a:r>
            <a:r>
              <a:rPr lang="en-US" sz="2000" dirty="0">
                <a:solidFill>
                  <a:srgbClr val="A9A9A9"/>
                </a:solidFill>
                <a:latin typeface="Lucida Console" panose="020B0609040504020204" pitchFamily="49" charset="0"/>
              </a:rPr>
              <a:t>.</a:t>
            </a:r>
            <a:r>
              <a:rPr lang="en-US" sz="2000" dirty="0" err="1">
                <a:solidFill>
                  <a:schemeClr val="lt1"/>
                </a:solidFill>
                <a:latin typeface="Lucida Console" panose="020B0609040504020204" pitchFamily="49" charset="0"/>
              </a:rPr>
              <a:t>Exception.Message</a:t>
            </a:r>
            <a:r>
              <a:rPr lang="en-US" sz="2000" dirty="0">
                <a:solidFill>
                  <a:schemeClr val="lt1"/>
                </a:solidFill>
                <a:latin typeface="Lucida Console" panose="020B0609040504020204" pitchFamily="49" charset="0"/>
              </a:rPr>
              <a:t> </a:t>
            </a:r>
          </a:p>
          <a:p>
            <a:pPr lvl="0" defTabSz="457200">
              <a:defRPr/>
            </a:pPr>
            <a:r>
              <a:rPr lang="en-US" sz="2000" dirty="0">
                <a:solidFill>
                  <a:schemeClr val="lt1"/>
                </a:solidFill>
                <a:latin typeface="Lucida Console" panose="020B0609040504020204" pitchFamily="49" charset="0"/>
              </a:rPr>
              <a:t>}</a:t>
            </a:r>
          </a:p>
          <a:p>
            <a:pPr lvl="0" defTabSz="457200">
              <a:defRPr/>
            </a:pPr>
            <a:r>
              <a:rPr lang="en-US" sz="2000" dirty="0">
                <a:solidFill>
                  <a:srgbClr val="F5F5F5"/>
                </a:solidFill>
                <a:latin typeface="Lucida Console" panose="020B0609040504020204" pitchFamily="49" charset="0"/>
              </a:rPr>
              <a:t>Finally </a:t>
            </a:r>
            <a:r>
              <a:rPr lang="en-US" sz="2000" dirty="0">
                <a:solidFill>
                  <a:schemeClr val="lt1"/>
                </a:solidFill>
                <a:latin typeface="Lucida Console" panose="020B0609040504020204" pitchFamily="49" charset="0"/>
              </a:rPr>
              <a:t>{</a:t>
            </a:r>
          </a:p>
          <a:p>
            <a:pPr lvl="0" defTabSz="457200">
              <a:defRPr/>
            </a:pPr>
            <a:r>
              <a:rPr lang="en-US" sz="2000" dirty="0">
                <a:solidFill>
                  <a:prstClr val="black"/>
                </a:solidFill>
                <a:latin typeface="Lucida Console" panose="020B0609040504020204" pitchFamily="49" charset="0"/>
              </a:rPr>
              <a:t>    </a:t>
            </a:r>
            <a:r>
              <a:rPr lang="en-US" sz="2000" dirty="0">
                <a:solidFill>
                  <a:srgbClr val="F5F5F5"/>
                </a:solidFill>
                <a:latin typeface="Lucida Console" panose="020B0609040504020204" pitchFamily="49" charset="0"/>
              </a:rPr>
              <a:t>If</a:t>
            </a:r>
            <a:r>
              <a:rPr lang="en-US" sz="2000" dirty="0">
                <a:solidFill>
                  <a:prstClr val="black"/>
                </a:solidFill>
                <a:latin typeface="Lucida Console" panose="020B0609040504020204" pitchFamily="49" charset="0"/>
              </a:rPr>
              <a:t> </a:t>
            </a:r>
            <a:r>
              <a:rPr lang="en-US" sz="2000" dirty="0">
                <a:solidFill>
                  <a:schemeClr val="lt1"/>
                </a:solidFill>
                <a:latin typeface="Lucida Console" panose="020B0609040504020204" pitchFamily="49" charset="0"/>
              </a:rPr>
              <a:t>(</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wc</a:t>
            </a:r>
            <a:r>
              <a:rPr lang="en-US" sz="2000" dirty="0">
                <a:solidFill>
                  <a:schemeClr val="lt1"/>
                </a:solidFill>
                <a:latin typeface="Lucida Console" panose="020B0609040504020204" pitchFamily="49" charset="0"/>
              </a:rPr>
              <a:t>)     {</a:t>
            </a:r>
          </a:p>
          <a:p>
            <a:pPr lvl="0" defTabSz="457200">
              <a:defRPr/>
            </a:pPr>
            <a:r>
              <a:rPr lang="en-US" sz="2000" dirty="0">
                <a:solidFill>
                  <a:prstClr val="black"/>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wc</a:t>
            </a:r>
            <a:r>
              <a:rPr lang="en-US" sz="2000" dirty="0" err="1">
                <a:solidFill>
                  <a:srgbClr val="A9A9A9"/>
                </a:solidFill>
                <a:latin typeface="Lucida Console" panose="020B0609040504020204" pitchFamily="49" charset="0"/>
              </a:rPr>
              <a:t>.</a:t>
            </a:r>
            <a:r>
              <a:rPr lang="en-US" sz="2000" dirty="0" err="1">
                <a:solidFill>
                  <a:schemeClr val="lt1"/>
                </a:solidFill>
                <a:latin typeface="Lucida Console" panose="020B0609040504020204" pitchFamily="49" charset="0"/>
              </a:rPr>
              <a:t>Dispose</a:t>
            </a:r>
            <a:r>
              <a:rPr lang="en-US" sz="2000" dirty="0">
                <a:solidFill>
                  <a:schemeClr val="lt1"/>
                </a:solidFill>
                <a:latin typeface="Lucida Console" panose="020B0609040504020204" pitchFamily="49" charset="0"/>
              </a:rPr>
              <a:t>()</a:t>
            </a:r>
          </a:p>
          <a:p>
            <a:pPr lvl="0" defTabSz="457200">
              <a:defRPr/>
            </a:pPr>
            <a:r>
              <a:rPr lang="en-US" sz="2000" dirty="0">
                <a:solidFill>
                  <a:schemeClr val="lt1"/>
                </a:solidFill>
                <a:latin typeface="Lucida Console" panose="020B0609040504020204" pitchFamily="49" charset="0"/>
              </a:rPr>
              <a:t>    }</a:t>
            </a:r>
          </a:p>
          <a:p>
            <a:pPr lvl="0" defTabSz="457200">
              <a:defRPr/>
            </a:pPr>
            <a:r>
              <a:rPr lang="en-US" sz="2000" dirty="0">
                <a:solidFill>
                  <a:schemeClr val="lt1"/>
                </a:solidFill>
                <a:latin typeface="Lucida Console" panose="020B0609040504020204" pitchFamily="49" charset="0"/>
              </a:rPr>
              <a:t>} </a:t>
            </a:r>
          </a:p>
        </p:txBody>
      </p:sp>
      <p:sp>
        <p:nvSpPr>
          <p:cNvPr id="8" name="Rectangular Callout 7"/>
          <p:cNvSpPr/>
          <p:nvPr/>
        </p:nvSpPr>
        <p:spPr>
          <a:xfrm>
            <a:off x="4794250" y="4648200"/>
            <a:ext cx="2914650" cy="582930"/>
          </a:xfrm>
          <a:prstGeom prst="wedgeRectCallout">
            <a:avLst>
              <a:gd name="adj1" fmla="val -153851"/>
              <a:gd name="adj2" fmla="val -173840"/>
            </a:avLst>
          </a:prstGeom>
          <a:solidFill>
            <a:schemeClr val="bg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r>
              <a:rPr kumimoji="0" lang="en-US" sz="1800" b="1" i="0" u="none" strike="noStrike" kern="1200" cap="none" spc="0" normalizeH="0" baseline="0" noProof="0">
                <a:ln>
                  <a:noFill/>
                </a:ln>
                <a:solidFill>
                  <a:schemeClr val="dk1"/>
                </a:solidFill>
                <a:effectLst/>
                <a:uLnTx/>
                <a:uFillTx/>
                <a:latin typeface="Segoe UI"/>
                <a:ea typeface="+mn-ea"/>
                <a:cs typeface="+mn-cs"/>
              </a:rPr>
              <a:t>$_ contains caught</a:t>
            </a:r>
            <a:r>
              <a:rPr lang="en-US" sz="1800" b="1">
                <a:solidFill>
                  <a:schemeClr val="dk1"/>
                </a:solidFill>
                <a:latin typeface="Segoe UI"/>
              </a:rPr>
              <a:t> error</a:t>
            </a:r>
            <a:endParaRPr kumimoji="0" lang="en-US" sz="1800" b="1" i="0" u="none" strike="noStrike" kern="1200" cap="none" spc="0" normalizeH="0" baseline="0" noProof="0">
              <a:ln>
                <a:noFill/>
              </a:ln>
              <a:solidFill>
                <a:schemeClr val="dk1"/>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594437921"/>
      </p:ext>
    </p:extLst>
  </p:cSld>
  <p:clrMapOvr>
    <a:masterClrMapping/>
  </p:clrMapOvr>
  <p:transition spd="slow"/>
</p:sld>
</file>

<file path=ppt/slides/slide5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y, Catch, Finally Syntax</a:t>
            </a:r>
          </a:p>
        </p:txBody>
      </p:sp>
      <p:sp>
        <p:nvSpPr>
          <p:cNvPr id="9" name="Code Box">
            <a:extLst>
              <a:ext uri="{FF2B5EF4-FFF2-40B4-BE49-F238E27FC236}">
                <a16:creationId xmlns:a16="http://schemas.microsoft.com/office/drawing/2014/main" id="{C06843CA-929D-4337-85FD-CE64A50D9286}"/>
              </a:ext>
            </a:extLst>
          </p:cNvPr>
          <p:cNvSpPr/>
          <p:nvPr>
            <p:custDataLst>
              <p:tags r:id="rId2"/>
            </p:custDataLst>
          </p:nvPr>
        </p:nvSpPr>
        <p:spPr>
          <a:xfrm>
            <a:off x="655638" y="1408113"/>
            <a:ext cx="10880725" cy="4819652"/>
          </a:xfrm>
          <a:prstGeom prst="rect">
            <a:avLst/>
          </a:prstGeom>
          <a:solidFill>
            <a:srgbClr val="012456"/>
          </a:solidFill>
        </p:spPr>
        <p:txBody>
          <a:bodyPr wrap="square">
            <a:noAutofit/>
          </a:bodyPr>
          <a:lstStyle/>
          <a:p>
            <a:r>
              <a:rPr lang="en-US" sz="1600">
                <a:solidFill>
                  <a:srgbClr val="E0FFFF"/>
                </a:solidFill>
                <a:latin typeface="Lucida Console" panose="020B0609040504020204" pitchFamily="49" charset="0"/>
              </a:rPr>
              <a:t>Try</a:t>
            </a:r>
            <a:r>
              <a:rPr lang="en-US" sz="1600">
                <a:solidFill>
                  <a:srgbClr val="F5F5F5"/>
                </a:solidFill>
                <a:latin typeface="Lucida Console" panose="020B0609040504020204" pitchFamily="49" charset="0"/>
              </a:rPr>
              <a:t> </a:t>
            </a:r>
          </a:p>
          <a:p>
            <a:r>
              <a:rPr lang="en-US" sz="1600">
                <a:solidFill>
                  <a:srgbClr val="F5F5F5"/>
                </a:solidFill>
                <a:latin typeface="Lucida Console" panose="020B0609040504020204" pitchFamily="49" charset="0"/>
              </a:rPr>
              <a:t>{</a:t>
            </a:r>
          </a:p>
          <a:p>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lt;</a:t>
            </a:r>
            <a:r>
              <a:rPr lang="en-US" sz="1600">
                <a:solidFill>
                  <a:srgbClr val="EE82EE"/>
                </a:solidFill>
                <a:latin typeface="Lucida Console" panose="020B0609040504020204" pitchFamily="49" charset="0"/>
              </a:rPr>
              <a:t>Code</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that</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could</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cause</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terminating</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errors</a:t>
            </a:r>
            <a:r>
              <a:rPr lang="en-US" sz="1600">
                <a:solidFill>
                  <a:srgbClr val="D3D3D3"/>
                </a:solidFill>
                <a:latin typeface="Lucida Console" panose="020B0609040504020204" pitchFamily="49" charset="0"/>
              </a:rPr>
              <a:t>&gt;</a:t>
            </a:r>
          </a:p>
          <a:p>
            <a:r>
              <a:rPr lang="en-US" sz="1600">
                <a:solidFill>
                  <a:srgbClr val="F5F5F5"/>
                </a:solidFill>
                <a:latin typeface="Lucida Console" panose="020B0609040504020204" pitchFamily="49" charset="0"/>
              </a:rPr>
              <a:t>}</a:t>
            </a:r>
          </a:p>
          <a:p>
            <a:endParaRPr lang="en-US" sz="1600">
              <a:solidFill>
                <a:srgbClr val="F5F5F5"/>
              </a:solidFill>
              <a:latin typeface="Lucida Console" panose="020B0609040504020204" pitchFamily="49" charset="0"/>
            </a:endParaRPr>
          </a:p>
          <a:p>
            <a:r>
              <a:rPr lang="en-US" sz="1600">
                <a:solidFill>
                  <a:srgbClr val="E0FFFF"/>
                </a:solidFill>
                <a:latin typeface="Lucida Console" panose="020B0609040504020204" pitchFamily="49" charset="0"/>
              </a:rPr>
              <a:t>Catch</a:t>
            </a:r>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a:t>
            </a:r>
            <a:r>
              <a:rPr lang="en-US" sz="1600">
                <a:solidFill>
                  <a:srgbClr val="8FBC8F"/>
                </a:solidFill>
                <a:latin typeface="Lucida Console" panose="020B0609040504020204" pitchFamily="49" charset="0"/>
              </a:rPr>
              <a:t>Exception</a:t>
            </a:r>
            <a:r>
              <a:rPr lang="en-US" sz="1600">
                <a:solidFill>
                  <a:srgbClr val="F5F5F5"/>
                </a:solidFill>
                <a:latin typeface="Lucida Console" panose="020B0609040504020204" pitchFamily="49" charset="0"/>
              </a:rPr>
              <a:t> </a:t>
            </a:r>
            <a:r>
              <a:rPr lang="en-US" sz="1600">
                <a:solidFill>
                  <a:srgbClr val="E0FFFF"/>
                </a:solidFill>
                <a:latin typeface="Lucida Console" panose="020B0609040504020204" pitchFamily="49" charset="0"/>
              </a:rPr>
              <a:t>Type1]</a:t>
            </a:r>
            <a:r>
              <a:rPr lang="en-US" sz="1600">
                <a:solidFill>
                  <a:srgbClr val="D3D3D3"/>
                </a:solidFill>
                <a:latin typeface="Lucida Console" panose="020B0609040504020204" pitchFamily="49" charset="0"/>
              </a:rPr>
              <a:t>,</a:t>
            </a:r>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a:t>
            </a:r>
            <a:r>
              <a:rPr lang="en-US" sz="1600">
                <a:solidFill>
                  <a:srgbClr val="8FBC8F"/>
                </a:solidFill>
                <a:latin typeface="Lucida Console" panose="020B0609040504020204" pitchFamily="49" charset="0"/>
              </a:rPr>
              <a:t>Exception</a:t>
            </a:r>
            <a:r>
              <a:rPr lang="en-US" sz="1600">
                <a:solidFill>
                  <a:srgbClr val="F5F5F5"/>
                </a:solidFill>
                <a:latin typeface="Lucida Console" panose="020B0609040504020204" pitchFamily="49" charset="0"/>
              </a:rPr>
              <a:t> </a:t>
            </a:r>
            <a:r>
              <a:rPr lang="en-US" sz="1600">
                <a:solidFill>
                  <a:srgbClr val="E0FFFF"/>
                </a:solidFill>
                <a:latin typeface="Lucida Console" panose="020B0609040504020204" pitchFamily="49" charset="0"/>
              </a:rPr>
              <a:t>Type2]</a:t>
            </a:r>
            <a:r>
              <a:rPr lang="en-US" sz="1600">
                <a:solidFill>
                  <a:srgbClr val="D3D3D3"/>
                </a:solidFill>
                <a:latin typeface="Lucida Console" panose="020B0609040504020204" pitchFamily="49" charset="0"/>
              </a:rPr>
              <a:t>,</a:t>
            </a:r>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a:t>
            </a:r>
            <a:r>
              <a:rPr lang="en-US" sz="1600">
                <a:solidFill>
                  <a:srgbClr val="8FBC8F"/>
                </a:solidFill>
                <a:latin typeface="Lucida Console" panose="020B0609040504020204" pitchFamily="49" charset="0"/>
              </a:rPr>
              <a:t>Exception</a:t>
            </a:r>
            <a:r>
              <a:rPr lang="en-US" sz="1600">
                <a:solidFill>
                  <a:srgbClr val="F5F5F5"/>
                </a:solidFill>
                <a:latin typeface="Lucida Console" panose="020B0609040504020204" pitchFamily="49" charset="0"/>
              </a:rPr>
              <a:t> </a:t>
            </a:r>
            <a:r>
              <a:rPr lang="en-US" sz="1600">
                <a:solidFill>
                  <a:srgbClr val="E0FFFF"/>
                </a:solidFill>
                <a:latin typeface="Lucida Console" panose="020B0609040504020204" pitchFamily="49" charset="0"/>
              </a:rPr>
              <a:t>Type3]</a:t>
            </a:r>
            <a:endParaRPr lang="en-US" sz="1600">
              <a:solidFill>
                <a:srgbClr val="D3D3D3"/>
              </a:solidFill>
              <a:latin typeface="Lucida Console" panose="020B0609040504020204" pitchFamily="49" charset="0"/>
            </a:endParaRPr>
          </a:p>
          <a:p>
            <a:r>
              <a:rPr lang="en-US" sz="1600">
                <a:solidFill>
                  <a:srgbClr val="F5F5F5"/>
                </a:solidFill>
                <a:latin typeface="Lucida Console" panose="020B0609040504020204" pitchFamily="49" charset="0"/>
              </a:rPr>
              <a:t>{</a:t>
            </a:r>
          </a:p>
          <a:p>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lt;</a:t>
            </a:r>
            <a:r>
              <a:rPr lang="en-US" sz="1600">
                <a:solidFill>
                  <a:srgbClr val="EE82EE"/>
                </a:solidFill>
                <a:latin typeface="Lucida Console" panose="020B0609040504020204" pitchFamily="49" charset="0"/>
              </a:rPr>
              <a:t>Error</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handling</a:t>
            </a:r>
            <a:r>
              <a:rPr lang="en-US" sz="1600">
                <a:solidFill>
                  <a:srgbClr val="D3D3D3"/>
                </a:solidFill>
                <a:latin typeface="Lucida Console" panose="020B0609040504020204" pitchFamily="49" charset="0"/>
              </a:rPr>
              <a:t>&gt;</a:t>
            </a:r>
          </a:p>
          <a:p>
            <a:r>
              <a:rPr lang="en-US" sz="1600">
                <a:solidFill>
                  <a:srgbClr val="F5F5F5"/>
                </a:solidFill>
                <a:latin typeface="Lucida Console" panose="020B0609040504020204" pitchFamily="49" charset="0"/>
              </a:rPr>
              <a:t>}</a:t>
            </a:r>
          </a:p>
          <a:p>
            <a:endParaRPr lang="en-US" sz="1600">
              <a:solidFill>
                <a:srgbClr val="F5F5F5"/>
              </a:solidFill>
              <a:latin typeface="Lucida Console" panose="020B0609040504020204" pitchFamily="49" charset="0"/>
            </a:endParaRPr>
          </a:p>
          <a:p>
            <a:r>
              <a:rPr lang="en-US" sz="1600">
                <a:solidFill>
                  <a:srgbClr val="E0FFFF"/>
                </a:solidFill>
                <a:latin typeface="Lucida Console" panose="020B0609040504020204" pitchFamily="49" charset="0"/>
              </a:rPr>
              <a:t>Catch</a:t>
            </a:r>
            <a:endParaRPr lang="en-US" sz="1600">
              <a:solidFill>
                <a:srgbClr val="F5F5F5"/>
              </a:solidFill>
              <a:latin typeface="Lucida Console" panose="020B0609040504020204" pitchFamily="49" charset="0"/>
            </a:endParaRPr>
          </a:p>
          <a:p>
            <a:r>
              <a:rPr lang="en-US" sz="1600">
                <a:solidFill>
                  <a:srgbClr val="F5F5F5"/>
                </a:solidFill>
                <a:latin typeface="Lucida Console" panose="020B0609040504020204" pitchFamily="49" charset="0"/>
              </a:rPr>
              <a:t>{</a:t>
            </a:r>
          </a:p>
          <a:p>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lt;</a:t>
            </a:r>
            <a:r>
              <a:rPr lang="en-US" sz="1600">
                <a:solidFill>
                  <a:srgbClr val="EE82EE"/>
                </a:solidFill>
                <a:latin typeface="Lucida Console" panose="020B0609040504020204" pitchFamily="49" charset="0"/>
              </a:rPr>
              <a:t>Handle</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uncaught</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errors</a:t>
            </a:r>
            <a:r>
              <a:rPr lang="en-US" sz="1600">
                <a:solidFill>
                  <a:srgbClr val="D3D3D3"/>
                </a:solidFill>
                <a:latin typeface="Lucida Console" panose="020B0609040504020204" pitchFamily="49" charset="0"/>
              </a:rPr>
              <a:t>&gt;</a:t>
            </a:r>
          </a:p>
          <a:p>
            <a:r>
              <a:rPr lang="en-US" sz="1600">
                <a:solidFill>
                  <a:srgbClr val="F5F5F5"/>
                </a:solidFill>
                <a:latin typeface="Lucida Console" panose="020B0609040504020204" pitchFamily="49" charset="0"/>
              </a:rPr>
              <a:t>}</a:t>
            </a:r>
          </a:p>
          <a:p>
            <a:endParaRPr lang="en-US" sz="1600">
              <a:solidFill>
                <a:srgbClr val="F5F5F5"/>
              </a:solidFill>
              <a:latin typeface="Lucida Console" panose="020B0609040504020204" pitchFamily="49" charset="0"/>
            </a:endParaRPr>
          </a:p>
          <a:p>
            <a:r>
              <a:rPr lang="en-US" sz="1600">
                <a:solidFill>
                  <a:srgbClr val="E0FFFF"/>
                </a:solidFill>
                <a:latin typeface="Lucida Console" panose="020B0609040504020204" pitchFamily="49" charset="0"/>
              </a:rPr>
              <a:t>Finally</a:t>
            </a:r>
            <a:endParaRPr lang="en-US" sz="1600">
              <a:solidFill>
                <a:srgbClr val="F5F5F5"/>
              </a:solidFill>
              <a:latin typeface="Lucida Console" panose="020B0609040504020204" pitchFamily="49" charset="0"/>
            </a:endParaRPr>
          </a:p>
          <a:p>
            <a:r>
              <a:rPr lang="en-US" sz="1600">
                <a:solidFill>
                  <a:srgbClr val="F5F5F5"/>
                </a:solidFill>
                <a:latin typeface="Lucida Console" panose="020B0609040504020204" pitchFamily="49" charset="0"/>
              </a:rPr>
              <a:t>{</a:t>
            </a:r>
          </a:p>
          <a:p>
            <a:r>
              <a:rPr lang="en-US" sz="1600">
                <a:solidFill>
                  <a:srgbClr val="F5F5F5"/>
                </a:solidFill>
                <a:latin typeface="Lucida Console" panose="020B0609040504020204" pitchFamily="49" charset="0"/>
              </a:rPr>
              <a:t>    </a:t>
            </a:r>
            <a:r>
              <a:rPr lang="en-US" sz="1600">
                <a:solidFill>
                  <a:srgbClr val="D3D3D3"/>
                </a:solidFill>
                <a:latin typeface="Lucida Console" panose="020B0609040504020204" pitchFamily="49" charset="0"/>
              </a:rPr>
              <a:t>&lt;</a:t>
            </a:r>
            <a:r>
              <a:rPr lang="en-US" sz="1600">
                <a:solidFill>
                  <a:srgbClr val="EE82EE"/>
                </a:solidFill>
                <a:latin typeface="Lucida Console" panose="020B0609040504020204" pitchFamily="49" charset="0"/>
              </a:rPr>
              <a:t>Clean</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up</a:t>
            </a:r>
            <a:r>
              <a:rPr lang="en-US" sz="1600">
                <a:solidFill>
                  <a:srgbClr val="F5F5F5"/>
                </a:solidFill>
                <a:latin typeface="Lucida Console" panose="020B0609040504020204" pitchFamily="49" charset="0"/>
              </a:rPr>
              <a:t> </a:t>
            </a:r>
            <a:r>
              <a:rPr lang="en-US" sz="1600">
                <a:solidFill>
                  <a:srgbClr val="EE82EE"/>
                </a:solidFill>
                <a:latin typeface="Lucida Console" panose="020B0609040504020204" pitchFamily="49" charset="0"/>
              </a:rPr>
              <a:t>code</a:t>
            </a:r>
            <a:r>
              <a:rPr lang="en-US" sz="1600">
                <a:solidFill>
                  <a:srgbClr val="D3D3D3"/>
                </a:solidFill>
                <a:latin typeface="Lucida Console" panose="020B0609040504020204" pitchFamily="49" charset="0"/>
              </a:rPr>
              <a:t>&gt;</a:t>
            </a:r>
          </a:p>
          <a:p>
            <a:r>
              <a:rPr lang="en-US" sz="1600">
                <a:solidFill>
                  <a:srgbClr val="F5F5F5"/>
                </a:solidFill>
                <a:latin typeface="Lucida Console" panose="020B0609040504020204" pitchFamily="49" charset="0"/>
              </a:rPr>
              <a:t>}  </a:t>
            </a:r>
          </a:p>
        </p:txBody>
      </p:sp>
      <p:sp>
        <p:nvSpPr>
          <p:cNvPr id="8" name="Rectangle 7"/>
          <p:cNvSpPr/>
          <p:nvPr/>
        </p:nvSpPr>
        <p:spPr>
          <a:xfrm>
            <a:off x="6494678" y="4632134"/>
            <a:ext cx="5041684" cy="1595628"/>
          </a:xfrm>
          <a:prstGeom prst="rect">
            <a:avLst/>
          </a:prstGeom>
          <a:solidFill>
            <a:schemeClr val="l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dk1"/>
                </a:solidFill>
                <a:effectLst/>
                <a:uLnTx/>
                <a:uFillTx/>
                <a:latin typeface="Segoe UI"/>
                <a:ea typeface="+mn-ea"/>
                <a:cs typeface="+mn-cs"/>
              </a:rPr>
              <a:t>One or more catch block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dk1"/>
                </a:solidFill>
                <a:effectLst/>
                <a:uLnTx/>
                <a:uFillTx/>
                <a:latin typeface="Segoe UI"/>
                <a:ea typeface="+mn-ea"/>
                <a:cs typeface="+mn-cs"/>
              </a:rPr>
              <a:t>Exception type optional</a:t>
            </a:r>
            <a:br>
              <a:rPr kumimoji="0" lang="en-US" sz="1800" b="0" i="0" u="none" strike="noStrike" kern="1200" cap="none" spc="0" normalizeH="0" baseline="0" noProof="0">
                <a:ln>
                  <a:noFill/>
                </a:ln>
                <a:solidFill>
                  <a:schemeClr val="dk1"/>
                </a:solidFill>
                <a:effectLst/>
                <a:uLnTx/>
                <a:uFillTx/>
                <a:latin typeface="Segoe UI"/>
                <a:ea typeface="+mn-ea"/>
                <a:cs typeface="+mn-cs"/>
              </a:rPr>
            </a:br>
            <a:r>
              <a:rPr kumimoji="0" lang="en-US" sz="1800" b="0" i="1" u="none" strike="noStrike" kern="1200" cap="none" spc="0" normalizeH="0" baseline="0" noProof="0">
                <a:ln>
                  <a:noFill/>
                </a:ln>
                <a:solidFill>
                  <a:schemeClr val="dk1"/>
                </a:solidFill>
                <a:effectLst/>
                <a:uLnTx/>
                <a:uFillTx/>
                <a:latin typeface="Segoe UI"/>
                <a:ea typeface="+mn-ea"/>
                <a:cs typeface="+mn-cs"/>
              </a:rPr>
              <a:t>Note: most specific to least specific</a:t>
            </a:r>
            <a:endParaRPr kumimoji="0" lang="en-US" sz="1800" b="0" i="0" u="none" strike="noStrike" kern="1200" cap="none" spc="0" normalizeH="0" baseline="0" noProof="0">
              <a:ln>
                <a:noFill/>
              </a:ln>
              <a:solidFill>
                <a:schemeClr val="dk1"/>
              </a:solidFill>
              <a:effectLst/>
              <a:uLnTx/>
              <a:uFillTx/>
              <a:latin typeface="Segoe U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dk1"/>
                </a:solidFill>
                <a:effectLst/>
                <a:uLnTx/>
                <a:uFillTx/>
                <a:latin typeface="Segoe UI"/>
                <a:ea typeface="+mn-ea"/>
                <a:cs typeface="+mn-cs"/>
              </a:rPr>
              <a:t>Finally block optional</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chemeClr val="dk1"/>
                </a:solidFill>
                <a:effectLst/>
                <a:uLnTx/>
                <a:uFillTx/>
                <a:latin typeface="Segoe UI"/>
                <a:ea typeface="+mn-ea"/>
                <a:cs typeface="+mn-cs"/>
              </a:rPr>
              <a:t>Must have at least one Catch or Finally block</a:t>
            </a:r>
          </a:p>
        </p:txBody>
      </p:sp>
    </p:spTree>
    <p:custDataLst>
      <p:tags r:id="rId1"/>
    </p:custDataLst>
    <p:extLst>
      <p:ext uri="{BB962C8B-B14F-4D97-AF65-F5344CB8AC3E}">
        <p14:creationId xmlns:p14="http://schemas.microsoft.com/office/powerpoint/2010/main" val="54686173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7.xml><?xml version="1.0" encoding="utf-8"?>
<p:sld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opes and Try, Catch, Finally</a:t>
            </a:r>
          </a:p>
        </p:txBody>
      </p:sp>
      <p:sp>
        <p:nvSpPr>
          <p:cNvPr id="3" name="Content Placeholder 2"/>
          <p:cNvSpPr>
            <a:spLocks noGrp="1"/>
          </p:cNvSpPr>
          <p:nvPr>
            <p:ph sz="quarter" idx="13"/>
          </p:nvPr>
        </p:nvSpPr>
        <p:spPr>
          <a:xfrm>
            <a:off x="701674" y="1019175"/>
            <a:ext cx="10880726" cy="4819650"/>
          </a:xfrm>
        </p:spPr>
        <p:txBody>
          <a:bodyPr>
            <a:normAutofit/>
          </a:bodyPr>
          <a:lstStyle/>
          <a:p>
            <a:pPr marL="0" indent="0">
              <a:spcBef>
                <a:spcPts val="0"/>
              </a:spcBef>
              <a:buNone/>
            </a:pPr>
            <a:r>
              <a:rPr lang="en-US"/>
              <a:t>Exceptions can be re-thrown to the parent scope </a:t>
            </a:r>
          </a:p>
          <a:p>
            <a:pPr>
              <a:spcBef>
                <a:spcPts val="0"/>
              </a:spcBef>
            </a:pPr>
            <a:r>
              <a:rPr lang="en-US" sz="2000"/>
              <a:t>Example: </a:t>
            </a:r>
          </a:p>
          <a:p>
            <a:pPr lvl="1">
              <a:spcBef>
                <a:spcPts val="0"/>
              </a:spcBef>
            </a:pPr>
            <a:r>
              <a:rPr lang="en-US" sz="1800"/>
              <a:t>from a function to the calling scope (called </a:t>
            </a:r>
            <a:r>
              <a:rPr lang="en-US" sz="1800" b="1"/>
              <a:t>exception ‘bubbling’</a:t>
            </a:r>
            <a:r>
              <a:rPr lang="en-US" sz="1800"/>
              <a:t>)</a:t>
            </a:r>
          </a:p>
          <a:p>
            <a:pPr marL="310896" lvl="1" indent="0">
              <a:spcBef>
                <a:spcPts val="0"/>
              </a:spcBef>
              <a:buNone/>
            </a:pPr>
            <a:endParaRPr lang="en-US" sz="1800" b="1"/>
          </a:p>
          <a:p>
            <a:pPr>
              <a:spcBef>
                <a:spcPts val="0"/>
              </a:spcBef>
            </a:pPr>
            <a:r>
              <a:rPr lang="en-US" sz="2000"/>
              <a:t>Unhandled exceptions in any scope will be processed by the Windows PowerShell Host</a:t>
            </a:r>
          </a:p>
          <a:p>
            <a:pPr marL="0" indent="0">
              <a:spcBef>
                <a:spcPts val="0"/>
              </a:spcBef>
              <a:buNone/>
            </a:pPr>
            <a:endParaRPr lang="en-US" sz="1600"/>
          </a:p>
        </p:txBody>
      </p:sp>
      <p:sp>
        <p:nvSpPr>
          <p:cNvPr id="7" name="Rectangle 6"/>
          <p:cNvSpPr/>
          <p:nvPr/>
        </p:nvSpPr>
        <p:spPr>
          <a:xfrm>
            <a:off x="665579" y="2743200"/>
            <a:ext cx="10880727" cy="3477875"/>
          </a:xfrm>
          <a:prstGeom prst="rect">
            <a:avLst/>
          </a:prstGeom>
          <a:solidFill>
            <a:srgbClr val="012456"/>
          </a:solidFill>
          <a:ln>
            <a:solidFill>
              <a:schemeClr val="bg2"/>
            </a:solidFill>
          </a:ln>
        </p:spPr>
        <p:txBody>
          <a:bodyPr wrap="square" anchor="t">
            <a:spAutoFit/>
          </a:bodyPr>
          <a:lstStyle/>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ErrorActionPreference</a:t>
            </a:r>
            <a:r>
              <a:rPr lang="en-US" sz="2000">
                <a:solidFill>
                  <a:srgbClr val="FF4500"/>
                </a:solidFill>
                <a:latin typeface="Lucida Console" panose="020B0609040504020204" pitchFamily="49" charset="0"/>
              </a:rPr>
              <a:t> </a:t>
            </a:r>
            <a:r>
              <a:rPr lang="en-US" sz="2000">
                <a:solidFill>
                  <a:srgbClr val="D3D3D3"/>
                </a:solidFill>
                <a:latin typeface="Lucida Console" panose="020B0609040504020204" pitchFamily="49" charset="0"/>
              </a:rPr>
              <a:t>= </a:t>
            </a:r>
            <a:r>
              <a:rPr lang="en-US" sz="2000" err="1">
                <a:solidFill>
                  <a:srgbClr val="E0FFFF"/>
                </a:solidFill>
                <a:latin typeface="Lucida Console" panose="020B0609040504020204" pitchFamily="49" charset="0"/>
              </a:rPr>
              <a:t>SilentlyContinue</a:t>
            </a:r>
            <a:r>
              <a:rPr lang="en-US" sz="2000">
                <a:solidFill>
                  <a:srgbClr val="E0FFFF"/>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Function</a:t>
            </a:r>
            <a:r>
              <a:rPr lang="en-US" sz="2000">
                <a:solidFill>
                  <a:srgbClr val="F5F5F5"/>
                </a:solidFill>
                <a:latin typeface="Lucida Console" panose="020B0609040504020204" pitchFamily="49" charset="0"/>
              </a:rPr>
              <a:t> </a:t>
            </a:r>
            <a:r>
              <a:rPr lang="en-US" sz="2000">
                <a:solidFill>
                  <a:srgbClr val="EE82EE"/>
                </a:solidFill>
                <a:latin typeface="Lucida Console" panose="020B0609040504020204" pitchFamily="49" charset="0"/>
              </a:rPr>
              <a:t>function3</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Try</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NonsenseCommand</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Catch</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Error trapped inside function"</a:t>
            </a:r>
            <a:r>
              <a:rPr lang="en-US" sz="2000">
                <a:solidFill>
                  <a:srgbClr val="F5F5F5"/>
                </a:solidFill>
                <a:latin typeface="Lucida Console" panose="020B0609040504020204" pitchFamily="49" charset="0"/>
              </a:rPr>
              <a:t> ; </a:t>
            </a:r>
            <a:r>
              <a:rPr lang="en-US" sz="2000">
                <a:solidFill>
                  <a:srgbClr val="E0FFFF"/>
                </a:solidFill>
                <a:latin typeface="Lucida Console" panose="020B0609040504020204" pitchFamily="49" charset="0"/>
              </a:rPr>
              <a:t>Throw</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Function3 was completed"</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Try </a:t>
            </a:r>
            <a:r>
              <a:rPr lang="en-US" sz="2000">
                <a:solidFill>
                  <a:srgbClr val="F5F5F5"/>
                </a:solidFill>
                <a:latin typeface="Lucida Console" panose="020B0609040504020204" pitchFamily="49" charset="0"/>
              </a:rPr>
              <a:t>{</a:t>
            </a:r>
            <a:r>
              <a:rPr lang="en-US" sz="2000">
                <a:solidFill>
                  <a:srgbClr val="E0FFFF"/>
                </a:solidFill>
                <a:latin typeface="Lucida Console" panose="020B0609040504020204" pitchFamily="49" charset="0"/>
              </a:rPr>
              <a:t>Function3</a:t>
            </a:r>
            <a:r>
              <a:rPr lang="en-US" sz="2000">
                <a:solidFill>
                  <a:srgbClr val="F5F5F5"/>
                </a:solidFill>
                <a:latin typeface="Lucida Console" panose="020B0609040504020204" pitchFamily="49" charset="0"/>
              </a:rPr>
              <a:t>}</a:t>
            </a:r>
          </a:p>
          <a:p>
            <a:r>
              <a:rPr lang="en-US" sz="2000">
                <a:solidFill>
                  <a:srgbClr val="E0FFFF"/>
                </a:solidFill>
                <a:latin typeface="Lucida Console" panose="020B0609040504020204" pitchFamily="49" charset="0"/>
              </a:rPr>
              <a:t>Catch</a:t>
            </a:r>
            <a:r>
              <a:rPr lang="en-US" sz="2000">
                <a:solidFill>
                  <a:srgbClr val="F5F5F5"/>
                </a:solidFill>
                <a:latin typeface="Lucida Console" panose="020B0609040504020204" pitchFamily="49" charset="0"/>
              </a:rPr>
              <a:t> { </a:t>
            </a:r>
            <a:r>
              <a:rPr lang="en-US" sz="2000">
                <a:solidFill>
                  <a:srgbClr val="DB7093"/>
                </a:solidFill>
                <a:latin typeface="Lucida Console" panose="020B0609040504020204" pitchFamily="49" charset="0"/>
              </a:rPr>
              <a:t>"Internal Function error re-thrown: </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_</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criptStackTrace</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r>
              <a:rPr lang="en-US" sz="2000">
                <a:solidFill>
                  <a:srgbClr val="DB7093"/>
                </a:solidFill>
                <a:latin typeface="Lucida Console" panose="020B0609040504020204" pitchFamily="49" charset="0"/>
              </a:rPr>
              <a:t>"Script Completed" </a:t>
            </a:r>
          </a:p>
        </p:txBody>
      </p:sp>
    </p:spTree>
    <p:custDataLst>
      <p:tags r:id="rId1"/>
    </p:custDataLst>
    <p:extLst>
      <p:ext uri="{BB962C8B-B14F-4D97-AF65-F5344CB8AC3E}">
        <p14:creationId xmlns:p14="http://schemas.microsoft.com/office/powerpoint/2010/main" val="92468747"/>
      </p:ext>
    </p:extLst>
  </p:cSld>
  <p:clrMapOvr>
    <a:masterClrMapping/>
  </p:clrMapOvr>
  <p:transition spd="slow"/>
  <p:extLst>
    <p:ext uri="{6950BFC3-D8DA-4A85-94F7-54DA5524770B}">
      <p188:commentRel xmlns:p188="http://schemas.microsoft.com/office/powerpoint/2018/8/main" r:id="rId4"/>
    </p:ext>
  </p:extLst>
</p:sld>
</file>

<file path=ppt/slides/slide59.xml><?xml version="1.0" encoding="utf-8"?>
<p:sld xmlns:a16="http://schemas.microsoft.com/office/drawing/2014/main" xmlns:adec="http://schemas.microsoft.com/office/drawing/2017/decorative"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omparing Trap with </a:t>
            </a:r>
            <a:r>
              <a:rPr lang="en-US" err="1"/>
              <a:t>Try..Catch..Finally</a:t>
            </a:r>
            <a:endParaRPr lang="en-US"/>
          </a:p>
        </p:txBody>
      </p:sp>
      <p:graphicFrame>
        <p:nvGraphicFramePr>
          <p:cNvPr id="6" name="Diagram 5">
            <a:extLst>
              <a:ext uri="{FF2B5EF4-FFF2-40B4-BE49-F238E27FC236}">
                <a16:creationId xmlns:a16="http://schemas.microsoft.com/office/drawing/2014/main" id="{AABE340B-27A4-4C51-8754-A5D97B0CFE8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47309693"/>
              </p:ext>
            </p:extLst>
          </p:nvPr>
        </p:nvGraphicFramePr>
        <p:xfrm>
          <a:off x="655638" y="1408113"/>
          <a:ext cx="4826000" cy="453813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4" name="Diagram 13">
            <a:extLst>
              <a:ext uri="{FF2B5EF4-FFF2-40B4-BE49-F238E27FC236}">
                <a16:creationId xmlns:a16="http://schemas.microsoft.com/office/drawing/2014/main" id="{54CCDCFE-6CEA-487A-861D-C82BE2C79D1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176107742"/>
              </p:ext>
            </p:extLst>
          </p:nvPr>
        </p:nvGraphicFramePr>
        <p:xfrm>
          <a:off x="6710362" y="1408113"/>
          <a:ext cx="4826000" cy="4538134"/>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7" name="Picture 6">
            <a:extLst>
              <a:ext uri="{FF2B5EF4-FFF2-40B4-BE49-F238E27FC236}">
                <a16:creationId xmlns:a16="http://schemas.microsoft.com/office/drawing/2014/main" id="{3E3A4C01-3988-4E2D-B61A-D6712B444421}"/>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767013" y="849124"/>
            <a:ext cx="1371600" cy="773084"/>
          </a:xfrm>
          <a:prstGeom prst="rect">
            <a:avLst/>
          </a:prstGeom>
        </p:spPr>
      </p:pic>
      <p:pic>
        <p:nvPicPr>
          <p:cNvPr id="15" name="Picture 14">
            <a:extLst>
              <a:ext uri="{FF2B5EF4-FFF2-40B4-BE49-F238E27FC236}">
                <a16:creationId xmlns:a16="http://schemas.microsoft.com/office/drawing/2014/main" id="{108A7306-D7EC-4F9D-9CC3-FE7A3D9DFAFB}"/>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6477000" y="767185"/>
            <a:ext cx="2947718" cy="800169"/>
          </a:xfrm>
          <a:prstGeom prst="rect">
            <a:avLst/>
          </a:prstGeom>
        </p:spPr>
      </p:pic>
    </p:spTree>
    <p:custDataLst>
      <p:tags r:id="rId1"/>
    </p:custDataLst>
    <p:extLst>
      <p:ext uri="{BB962C8B-B14F-4D97-AF65-F5344CB8AC3E}">
        <p14:creationId xmlns:p14="http://schemas.microsoft.com/office/powerpoint/2010/main" val="1748862827"/>
      </p:ext>
    </p:extLst>
  </p:cSld>
  <p:clrMapOvr>
    <a:masterClrMapping/>
  </p:clrMapOvr>
  <p:transition spd="slow"/>
  <p:extLst>
    <p:ext uri="{6950BFC3-D8DA-4A85-94F7-54DA5524770B}">
      <p188:commentRel xmlns:p188="http://schemas.microsoft.com/office/powerpoint/2018/8/main" r:id="rId4"/>
    </p:ext>
  </p:extLst>
</p:sld>
</file>

<file path=ppt/slides/slide6.xml><?xml version="1.0" encoding="utf-8"?>
<p:sld xmlns:a16="http://schemas.microsoft.com/office/drawing/2014/main" xmlns:p14="http://schemas.microsoft.com/office/powerpoint/2010/main" xmlns:a14="http://schemas.microsoft.com/office/drawing/2010/main" xmlns:asvg="http://schemas.microsoft.com/office/drawing/2016/SVG/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a:lstStyle/>
          <a:p>
            <a:r>
              <a:rPr lang="en-US"/>
              <a:t>The Streams</a:t>
            </a:r>
          </a:p>
        </p:txBody>
      </p:sp>
      <p:graphicFrame>
        <p:nvGraphicFramePr>
          <p:cNvPr id="2" name="Table 4">
            <a:extLst>
              <a:ext uri="{FF2B5EF4-FFF2-40B4-BE49-F238E27FC236}">
                <a16:creationId xmlns:a16="http://schemas.microsoft.com/office/drawing/2014/main" id="{00DFD454-F652-4BA4-B0DA-571743499239}"/>
              </a:ext>
            </a:extLst>
          </p:cNvPr>
          <p:cNvGraphicFramePr>
            <a:graphicFrameLocks noGrp="1"/>
          </p:cNvGraphicFramePr>
          <p:nvPr>
            <p:extLst>
              <p:ext uri="{D42A27DB-BD31-4B8C-83A1-F6EECF244321}">
                <p14:modId xmlns:p14="http://schemas.microsoft.com/office/powerpoint/2010/main" val="2119376514"/>
              </p:ext>
            </p:extLst>
          </p:nvPr>
        </p:nvGraphicFramePr>
        <p:xfrm>
          <a:off x="365760" y="1142998"/>
          <a:ext cx="11430000" cy="4907280"/>
        </p:xfrm>
        <a:graphic>
          <a:graphicData uri="http://schemas.openxmlformats.org/drawingml/2006/table">
            <a:tbl>
              <a:tblPr firstRow="1" bandRow="1">
                <a:tableStyleId>{21E4AEA4-8DFA-4A89-87EB-49C32662AFE0}</a:tableStyleId>
              </a:tblPr>
              <a:tblGrid>
                <a:gridCol w="1660109">
                  <a:extLst>
                    <a:ext uri="{9D8B030D-6E8A-4147-A177-3AD203B41FA5}">
                      <a16:colId xmlns:a16="http://schemas.microsoft.com/office/drawing/2014/main" val="11003960"/>
                    </a:ext>
                  </a:extLst>
                </a:gridCol>
                <a:gridCol w="1149259">
                  <a:extLst>
                    <a:ext uri="{9D8B030D-6E8A-4147-A177-3AD203B41FA5}">
                      <a16:colId xmlns:a16="http://schemas.microsoft.com/office/drawing/2014/main" val="3973479151"/>
                    </a:ext>
                  </a:extLst>
                </a:gridCol>
                <a:gridCol w="3262744">
                  <a:extLst>
                    <a:ext uri="{9D8B030D-6E8A-4147-A177-3AD203B41FA5}">
                      <a16:colId xmlns:a16="http://schemas.microsoft.com/office/drawing/2014/main" val="3317365292"/>
                    </a:ext>
                  </a:extLst>
                </a:gridCol>
                <a:gridCol w="5357888">
                  <a:extLst>
                    <a:ext uri="{9D8B030D-6E8A-4147-A177-3AD203B41FA5}">
                      <a16:colId xmlns:a16="http://schemas.microsoft.com/office/drawing/2014/main" val="2727386824"/>
                    </a:ext>
                  </a:extLst>
                </a:gridCol>
              </a:tblGrid>
              <a:tr h="701040">
                <a:tc>
                  <a:txBody>
                    <a:bodyPr/>
                    <a:lstStyle/>
                    <a:p>
                      <a:pPr algn="ctr"/>
                      <a:r>
                        <a:rPr lang="en-US" sz="2000"/>
                        <a:t>Name</a:t>
                      </a:r>
                    </a:p>
                  </a:txBody>
                  <a:tcPr anchor="ctr"/>
                </a:tc>
                <a:tc>
                  <a:txBody>
                    <a:bodyPr/>
                    <a:lstStyle/>
                    <a:p>
                      <a:pPr algn="ctr"/>
                      <a:r>
                        <a:rPr lang="en-US" sz="2000"/>
                        <a:t>Default</a:t>
                      </a:r>
                    </a:p>
                  </a:txBody>
                  <a:tcPr anchor="ctr"/>
                </a:tc>
                <a:tc>
                  <a:txBody>
                    <a:bodyPr/>
                    <a:lstStyle/>
                    <a:p>
                      <a:pPr algn="ctr"/>
                      <a:r>
                        <a:rPr lang="en-US" sz="2000"/>
                        <a:t>Preference Variable</a:t>
                      </a:r>
                    </a:p>
                  </a:txBody>
                  <a:tcPr anchor="ctr"/>
                </a:tc>
                <a:tc>
                  <a:txBody>
                    <a:bodyPr/>
                    <a:lstStyle/>
                    <a:p>
                      <a:pPr algn="ctr"/>
                      <a:r>
                        <a:rPr lang="en-US" sz="2000"/>
                        <a:t>Notes</a:t>
                      </a:r>
                    </a:p>
                  </a:txBody>
                  <a:tcPr anchor="ctr"/>
                </a:tc>
                <a:extLst>
                  <a:ext uri="{0D108BD9-81ED-4DB2-BD59-A6C34878D82A}">
                    <a16:rowId xmlns:a16="http://schemas.microsoft.com/office/drawing/2014/main" val="3086437691"/>
                  </a:ext>
                </a:extLst>
              </a:tr>
              <a:tr h="701040">
                <a:tc>
                  <a:txBody>
                    <a:bodyPr/>
                    <a:lstStyle/>
                    <a:p>
                      <a:pPr algn="ctr"/>
                      <a:r>
                        <a:rPr lang="en-US" sz="2000" b="1"/>
                        <a:t>Output</a:t>
                      </a:r>
                    </a:p>
                  </a:txBody>
                  <a:tcPr anchor="ctr"/>
                </a:tc>
                <a:tc>
                  <a:txBody>
                    <a:bodyPr/>
                    <a:lstStyle/>
                    <a:p>
                      <a:pPr algn="ctr"/>
                      <a:endParaRPr lang="en-US" sz="20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rPr>
                        <a:t>No variable</a:t>
                      </a:r>
                      <a:endParaRPr lang="en-US" sz="2000">
                        <a:solidFill>
                          <a:srgbClr val="000000"/>
                        </a:solidFill>
                        <a:latin typeface="Lucida Console" panose="020B0609040504020204" pitchFamily="49" charset="0"/>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chemeClr val="bg1"/>
                          </a:solidFill>
                          <a:latin typeface="Lucida Console" panose="020B0609040504020204" pitchFamily="49" charset="0"/>
                        </a:rPr>
                        <a:t>Flows down the pipeline</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chemeClr val="bg1"/>
                          </a:solidFill>
                          <a:latin typeface="Lucida Console" panose="020B0609040504020204" pitchFamily="49" charset="0"/>
                        </a:rPr>
                        <a:t>Captured by assignment operator </a:t>
                      </a:r>
                      <a:r>
                        <a:rPr kumimoji="0" lang="en-US" sz="2200" b="0" i="0" u="none" strike="noStrike" kern="1200" cap="none" spc="0" normalizeH="0" baseline="0" noProof="0">
                          <a:ln>
                            <a:noFill/>
                          </a:ln>
                          <a:solidFill>
                            <a:srgbClr val="FFFFFF"/>
                          </a:solidFill>
                          <a:effectLst/>
                          <a:uLnTx/>
                          <a:uFillTx/>
                          <a:latin typeface="+mn-lt"/>
                          <a:ea typeface="+mn-ea"/>
                          <a:cs typeface="+mn-cs"/>
                        </a:rPr>
                        <a:t>'='</a:t>
                      </a:r>
                      <a:endParaRPr lang="en-US" sz="1800" b="1" kern="100" baseline="0">
                        <a:solidFill>
                          <a:schemeClr val="bg1"/>
                        </a:solidFill>
                        <a:latin typeface="Lucida Console" panose="020B0609040504020204" pitchFamily="49" charset="0"/>
                      </a:endParaRPr>
                    </a:p>
                  </a:txBody>
                  <a:tcPr anchor="ctr">
                    <a:solidFill>
                      <a:srgbClr val="002060"/>
                    </a:solidFill>
                  </a:tcPr>
                </a:tc>
                <a:extLst>
                  <a:ext uri="{0D108BD9-81ED-4DB2-BD59-A6C34878D82A}">
                    <a16:rowId xmlns:a16="http://schemas.microsoft.com/office/drawing/2014/main" val="951999894"/>
                  </a:ext>
                </a:extLst>
              </a:tr>
              <a:tr h="701040">
                <a:tc>
                  <a:txBody>
                    <a:bodyPr/>
                    <a:lstStyle/>
                    <a:p>
                      <a:pPr algn="ctr"/>
                      <a:r>
                        <a:rPr lang="en-US" sz="2000" b="1"/>
                        <a:t>Error</a:t>
                      </a:r>
                    </a:p>
                  </a:txBody>
                  <a:tcPr anchor="ctr"/>
                </a:tc>
                <a:tc>
                  <a:txBody>
                    <a:bodyPr/>
                    <a:lstStyle/>
                    <a:p>
                      <a:pPr algn="ctr"/>
                      <a:endParaRPr lang="en-US" sz="20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rgbClr val="000000"/>
                          </a:solidFill>
                        </a:rPr>
                        <a:t>$ErrorActionPreference</a:t>
                      </a:r>
                      <a:endParaRPr lang="en-US" sz="2000" b="0">
                        <a:solidFill>
                          <a:srgbClr val="000000"/>
                        </a:solidFill>
                        <a:latin typeface="Lucida Console" panose="020B0609040504020204" pitchFamily="49" charset="0"/>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FF9494"/>
                          </a:solidFill>
                          <a:latin typeface="Lucida Console" panose="020B0609040504020204" pitchFamily="49" charset="0"/>
                        </a:rPr>
                        <a:t>Execution problems</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FF9494"/>
                          </a:solidFill>
                          <a:latin typeface="Lucida Console" panose="020B0609040504020204" pitchFamily="49" charset="0"/>
                        </a:rPr>
                        <a:t>Shown in red</a:t>
                      </a:r>
                    </a:p>
                  </a:txBody>
                  <a:tcPr anchor="ctr">
                    <a:solidFill>
                      <a:srgbClr val="002060"/>
                    </a:solidFill>
                  </a:tcPr>
                </a:tc>
                <a:extLst>
                  <a:ext uri="{0D108BD9-81ED-4DB2-BD59-A6C34878D82A}">
                    <a16:rowId xmlns:a16="http://schemas.microsoft.com/office/drawing/2014/main" val="1266200490"/>
                  </a:ext>
                </a:extLst>
              </a:tr>
              <a:tr h="701040">
                <a:tc>
                  <a:txBody>
                    <a:bodyPr/>
                    <a:lstStyle/>
                    <a:p>
                      <a:pPr algn="ctr"/>
                      <a:r>
                        <a:rPr lang="en-US" sz="2000" b="1"/>
                        <a:t>Warning</a:t>
                      </a:r>
                    </a:p>
                  </a:txBody>
                  <a:tcPr anchor="ctr"/>
                </a:tc>
                <a:tc>
                  <a:txBody>
                    <a:bodyPr/>
                    <a:lstStyle/>
                    <a:p>
                      <a:pPr algn="ctr"/>
                      <a:endParaRPr lang="en-US" sz="20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rgbClr val="000000"/>
                          </a:solidFill>
                        </a:rPr>
                        <a:t>$WarningPreference</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FF8C00"/>
                          </a:solidFill>
                          <a:latin typeface="Lucida Console" panose="020B0609040504020204" pitchFamily="49" charset="0"/>
                        </a:rPr>
                        <a:t>Less severe execution problems</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FF8C00"/>
                          </a:solidFill>
                          <a:latin typeface="Lucida Console" panose="020B0609040504020204" pitchFamily="49" charset="0"/>
                        </a:rPr>
                        <a:t>Shown in orange</a:t>
                      </a:r>
                    </a:p>
                  </a:txBody>
                  <a:tcPr anchor="ctr">
                    <a:solidFill>
                      <a:srgbClr val="002060"/>
                    </a:solidFill>
                  </a:tcPr>
                </a:tc>
                <a:extLst>
                  <a:ext uri="{0D108BD9-81ED-4DB2-BD59-A6C34878D82A}">
                    <a16:rowId xmlns:a16="http://schemas.microsoft.com/office/drawing/2014/main" val="2398893572"/>
                  </a:ext>
                </a:extLst>
              </a:tr>
              <a:tr h="701040">
                <a:tc>
                  <a:txBody>
                    <a:bodyPr/>
                    <a:lstStyle/>
                    <a:p>
                      <a:pPr algn="ctr"/>
                      <a:r>
                        <a:rPr lang="en-US" sz="2000" b="1"/>
                        <a:t>Verbose</a:t>
                      </a:r>
                    </a:p>
                  </a:txBody>
                  <a:tcPr anchor="ctr"/>
                </a:tc>
                <a:tc>
                  <a:txBody>
                    <a:bodyPr/>
                    <a:lstStyle/>
                    <a:p>
                      <a:pPr algn="ctr"/>
                      <a:endParaRPr lang="en-US" sz="20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rgbClr val="000000"/>
                          </a:solidFill>
                        </a:rPr>
                        <a:t>$VerbosePreference</a:t>
                      </a:r>
                      <a:endParaRPr lang="en-US" sz="2000" b="0">
                        <a:solidFill>
                          <a:srgbClr val="000000"/>
                        </a:solidFill>
                        <a:latin typeface="Lucida Console" panose="020B0609040504020204" pitchFamily="49" charset="0"/>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50E6FF"/>
                          </a:solidFill>
                          <a:latin typeface="Lucida Console" panose="020B0609040504020204" pitchFamily="49" charset="0"/>
                        </a:rPr>
                        <a:t>Detailed diagnostics</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50E6FF"/>
                          </a:solidFill>
                          <a:latin typeface="Lucida Console" panose="020B0609040504020204" pitchFamily="49" charset="0"/>
                        </a:rPr>
                        <a:t>Shown in cyan</a:t>
                      </a:r>
                    </a:p>
                  </a:txBody>
                  <a:tcPr anchor="ctr">
                    <a:solidFill>
                      <a:srgbClr val="002060"/>
                    </a:solidFill>
                  </a:tcPr>
                </a:tc>
                <a:extLst>
                  <a:ext uri="{0D108BD9-81ED-4DB2-BD59-A6C34878D82A}">
                    <a16:rowId xmlns:a16="http://schemas.microsoft.com/office/drawing/2014/main" val="2912298714"/>
                  </a:ext>
                </a:extLst>
              </a:tr>
              <a:tr h="701040">
                <a:tc>
                  <a:txBody>
                    <a:bodyPr/>
                    <a:lstStyle/>
                    <a:p>
                      <a:pPr algn="ctr"/>
                      <a:r>
                        <a:rPr lang="en-US" sz="2000" b="1"/>
                        <a:t>Debug</a:t>
                      </a:r>
                    </a:p>
                  </a:txBody>
                  <a:tcPr anchor="ctr"/>
                </a:tc>
                <a:tc>
                  <a:txBody>
                    <a:bodyPr/>
                    <a:lstStyle/>
                    <a:p>
                      <a:pPr algn="ctr"/>
                      <a:endParaRPr lang="en-US" sz="20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rgbClr val="000000"/>
                          </a:solidFill>
                        </a:rPr>
                        <a:t>$DebugPreference</a:t>
                      </a:r>
                      <a:endParaRPr lang="en-US" sz="2000" b="0">
                        <a:solidFill>
                          <a:srgbClr val="000000"/>
                        </a:solidFill>
                        <a:latin typeface="Lucida Console" panose="020B0609040504020204" pitchFamily="49" charset="0"/>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50E6FF"/>
                          </a:solidFill>
                          <a:latin typeface="Lucida Console" panose="020B0609040504020204" pitchFamily="49" charset="0"/>
                        </a:rPr>
                        <a:t>Debugging-related information</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rgbClr val="50E6FF"/>
                          </a:solidFill>
                          <a:latin typeface="Lucida Console" panose="020B0609040504020204" pitchFamily="49" charset="0"/>
                        </a:rPr>
                        <a:t>Prompts user to continue</a:t>
                      </a:r>
                    </a:p>
                  </a:txBody>
                  <a:tcPr anchor="ctr">
                    <a:solidFill>
                      <a:srgbClr val="002060"/>
                    </a:solidFill>
                  </a:tcPr>
                </a:tc>
                <a:extLst>
                  <a:ext uri="{0D108BD9-81ED-4DB2-BD59-A6C34878D82A}">
                    <a16:rowId xmlns:a16="http://schemas.microsoft.com/office/drawing/2014/main" val="3287658321"/>
                  </a:ext>
                </a:extLst>
              </a:tr>
              <a:tr h="701040">
                <a:tc>
                  <a:txBody>
                    <a:bodyPr/>
                    <a:lstStyle/>
                    <a:p>
                      <a:pPr algn="ctr"/>
                      <a:r>
                        <a:rPr lang="en-US" sz="2000" b="1"/>
                        <a:t>Information</a:t>
                      </a:r>
                    </a:p>
                  </a:txBody>
                  <a:tcPr anchor="ctr"/>
                </a:tc>
                <a:tc>
                  <a:txBody>
                    <a:bodyPr/>
                    <a:lstStyle/>
                    <a:p>
                      <a:pPr algn="ctr"/>
                      <a:endParaRPr lang="en-US" sz="20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a:solidFill>
                            <a:srgbClr val="000000"/>
                          </a:solidFill>
                        </a:rPr>
                        <a:t>$</a:t>
                      </a:r>
                      <a:r>
                        <a:rPr lang="en-US" sz="2000" b="0" err="1">
                          <a:solidFill>
                            <a:srgbClr val="000000"/>
                          </a:solidFill>
                        </a:rPr>
                        <a:t>InformationPreference</a:t>
                      </a:r>
                      <a:endParaRPr lang="en-US" sz="2000" b="0">
                        <a:solidFill>
                          <a:srgbClr val="000000"/>
                        </a:solidFill>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chemeClr val="bg1"/>
                          </a:solidFill>
                          <a:latin typeface="Lucida Console" panose="020B0609040504020204" pitchFamily="49" charset="0"/>
                        </a:rPr>
                        <a:t>Better for logging (PS 5+)</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800" kern="100" baseline="0">
                          <a:solidFill>
                            <a:schemeClr val="bg1"/>
                          </a:solidFill>
                          <a:latin typeface="Lucida Console" panose="020B0609040504020204" pitchFamily="49" charset="0"/>
                        </a:rPr>
                        <a:t>Captures data from Write-Host</a:t>
                      </a:r>
                    </a:p>
                  </a:txBody>
                  <a:tcPr anchor="ctr">
                    <a:solidFill>
                      <a:srgbClr val="002060"/>
                    </a:solidFill>
                  </a:tcPr>
                </a:tc>
                <a:extLst>
                  <a:ext uri="{0D108BD9-81ED-4DB2-BD59-A6C34878D82A}">
                    <a16:rowId xmlns:a16="http://schemas.microsoft.com/office/drawing/2014/main" val="2618892602"/>
                  </a:ext>
                </a:extLst>
              </a:tr>
            </a:tbl>
          </a:graphicData>
        </a:graphic>
      </p:graphicFrame>
      <p:pic>
        <p:nvPicPr>
          <p:cNvPr id="5" name="Graphic 4" descr="Eye outline">
            <a:extLst>
              <a:ext uri="{FF2B5EF4-FFF2-40B4-BE49-F238E27FC236}">
                <a16:creationId xmlns:a16="http://schemas.microsoft.com/office/drawing/2014/main" id="{C1AEBEE7-8100-4BDB-A127-5078BAB7280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1251" y="1828800"/>
            <a:ext cx="640080" cy="640080"/>
          </a:xfrm>
          <a:prstGeom prst="rect">
            <a:avLst/>
          </a:prstGeom>
        </p:spPr>
      </p:pic>
      <p:pic>
        <p:nvPicPr>
          <p:cNvPr id="6" name="Graphic 5" descr="Eye outline">
            <a:extLst>
              <a:ext uri="{FF2B5EF4-FFF2-40B4-BE49-F238E27FC236}">
                <a16:creationId xmlns:a16="http://schemas.microsoft.com/office/drawing/2014/main" id="{B7CDF89D-26F2-4437-A032-CAAF417947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1251" y="2560320"/>
            <a:ext cx="640080" cy="640080"/>
          </a:xfrm>
          <a:prstGeom prst="rect">
            <a:avLst/>
          </a:prstGeom>
        </p:spPr>
      </p:pic>
      <p:pic>
        <p:nvPicPr>
          <p:cNvPr id="7" name="Graphic 6" descr="Eye outline">
            <a:extLst>
              <a:ext uri="{FF2B5EF4-FFF2-40B4-BE49-F238E27FC236}">
                <a16:creationId xmlns:a16="http://schemas.microsoft.com/office/drawing/2014/main" id="{E348AED5-E768-4707-B7E2-A2BF428ECC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1251" y="3291840"/>
            <a:ext cx="640080" cy="640080"/>
          </a:xfrm>
          <a:prstGeom prst="rect">
            <a:avLst/>
          </a:prstGeom>
        </p:spPr>
      </p:pic>
      <p:pic>
        <p:nvPicPr>
          <p:cNvPr id="12" name="Graphic 11" descr="Blind outline">
            <a:extLst>
              <a:ext uri="{FF2B5EF4-FFF2-40B4-BE49-F238E27FC236}">
                <a16:creationId xmlns:a16="http://schemas.microsoft.com/office/drawing/2014/main" id="{A4391CB3-6E55-4FC2-B701-D618823094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86000" y="4023360"/>
            <a:ext cx="640080" cy="640080"/>
          </a:xfrm>
          <a:prstGeom prst="rect">
            <a:avLst/>
          </a:prstGeom>
        </p:spPr>
      </p:pic>
      <p:pic>
        <p:nvPicPr>
          <p:cNvPr id="13" name="Graphic 12" descr="Blind outline">
            <a:extLst>
              <a:ext uri="{FF2B5EF4-FFF2-40B4-BE49-F238E27FC236}">
                <a16:creationId xmlns:a16="http://schemas.microsoft.com/office/drawing/2014/main" id="{6CD8EF63-5F0B-43C0-980A-74E5CF3428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81251" y="4663440"/>
            <a:ext cx="640080" cy="640080"/>
          </a:xfrm>
          <a:prstGeom prst="rect">
            <a:avLst/>
          </a:prstGeom>
        </p:spPr>
      </p:pic>
      <p:pic>
        <p:nvPicPr>
          <p:cNvPr id="14" name="Graphic 13" descr="Blind outline">
            <a:extLst>
              <a:ext uri="{FF2B5EF4-FFF2-40B4-BE49-F238E27FC236}">
                <a16:creationId xmlns:a16="http://schemas.microsoft.com/office/drawing/2014/main" id="{EF67215E-12E6-41AD-9249-91CF93E3E0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81251" y="5394960"/>
            <a:ext cx="640080" cy="640080"/>
          </a:xfrm>
          <a:prstGeom prst="rect">
            <a:avLst/>
          </a:prstGeom>
        </p:spPr>
      </p:pic>
    </p:spTree>
    <p:custDataLst>
      <p:tags r:id="rId1"/>
    </p:custDataLst>
    <p:extLst>
      <p:ext uri="{BB962C8B-B14F-4D97-AF65-F5344CB8AC3E}">
        <p14:creationId xmlns:p14="http://schemas.microsoft.com/office/powerpoint/2010/main" val="1126158603"/>
      </p:ext>
    </p:extLst>
  </p:cSld>
  <p:clrMapOvr>
    <a:masterClrMapping/>
  </p:clrMapOvr>
  <p:transition spd="slow"/>
  <p:extLst>
    <p:ext uri="{6950BFC3-D8DA-4A85-94F7-54DA5524770B}">
      <p188:commentRel xmlns:p188="http://schemas.microsoft.com/office/powerpoint/2018/8/main" r:id="rId4"/>
    </p:ext>
  </p:extLst>
</p:sld>
</file>

<file path=ppt/slides/slide6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atching Terminating Errors using Try{} Catch{} Finally{}</a:t>
            </a:r>
          </a:p>
        </p:txBody>
      </p:sp>
      <p:pic>
        <p:nvPicPr>
          <p:cNvPr id="5" name="Demo 01" descr="A person standing in front of a screen.">
            <a:extLst>
              <a:ext uri="{FF2B5EF4-FFF2-40B4-BE49-F238E27FC236}">
                <a16:creationId xmlns:a16="http://schemas.microsoft.com/office/drawing/2014/main" id="{5BC8AAE4-8C02-4DC0-87E8-0B6DC7F89C34}"/>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312583116"/>
      </p:ext>
    </p:extLst>
  </p:cSld>
  <p:clrMapOvr>
    <a:masterClrMapping/>
  </p:clrMapOvr>
  <p:transition spd="slow"/>
</p:sld>
</file>

<file path=ppt/slides/slide6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18531329"/>
      </p:ext>
    </p:extLst>
  </p:cSld>
  <p:clrMapOvr>
    <a:masterClrMapping/>
  </p:clrMapOvr>
  <p:transition spd="slow"/>
</p:sld>
</file>

<file path=ppt/slides/slide6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Error Handl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algn="ctr"/>
            <a:r>
              <a:rPr lang="en-US"/>
              <a:t>60 minutes</a:t>
            </a:r>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a:extLst>
              <a:ext uri="{FF2B5EF4-FFF2-40B4-BE49-F238E27FC236}">
                <a16:creationId xmlns:a16="http://schemas.microsoft.com/office/drawing/2014/main" id="{76566A92-4C2E-4A75-AC88-04F49267A8C1}"/>
              </a:ext>
              <a:ext uri="{C183D7F6-B498-43B3-948B-1728B52AA6E4}">
                <adec:decorative xmlns:adec="http://schemas.microsoft.com/office/drawing/2017/decorative" val="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783722524"/>
      </p:ext>
    </p:extLst>
  </p:cSld>
  <p:clrMapOvr>
    <a:masterClrMapping/>
  </p:clrMapOvr>
  <p:transition spd="slow"/>
</p:sld>
</file>

<file path=ppt/slides/slide6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44175591"/>
      </p:ext>
    </p:extLst>
  </p:cSld>
  <p:clrMapOvr>
    <a:masterClrMapping/>
  </p:clrMapOvr>
  <p:transition spd="slow"/>
</p:sld>
</file>

<file path=ppt/slides/slide7.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a:lstStyle/>
          <a:p>
            <a:r>
              <a:rPr lang="en-US"/>
              <a:t>Write Cmdlets</a:t>
            </a:r>
          </a:p>
        </p:txBody>
      </p:sp>
      <p:sp>
        <p:nvSpPr>
          <p:cNvPr id="5" name="Code Box">
            <a:extLst>
              <a:ext uri="{FF2B5EF4-FFF2-40B4-BE49-F238E27FC236}">
                <a16:creationId xmlns:a16="http://schemas.microsoft.com/office/drawing/2014/main" id="{A6E2E351-13CF-45CA-9AE1-AF0EFECBC9A5}"/>
              </a:ext>
            </a:extLst>
          </p:cNvPr>
          <p:cNvSpPr/>
          <p:nvPr>
            <p:custDataLst>
              <p:tags r:id="rId2"/>
            </p:custDataLst>
          </p:nvPr>
        </p:nvSpPr>
        <p:spPr>
          <a:xfrm>
            <a:off x="640080" y="914400"/>
            <a:ext cx="11064240" cy="5671185"/>
          </a:xfrm>
          <a:prstGeom prst="rect">
            <a:avLst/>
          </a:prstGeom>
          <a:solidFill>
            <a:srgbClr val="012456"/>
          </a:solidFill>
        </p:spPr>
        <p:txBody>
          <a:bodyPr wrap="square" tIns="91440" bIns="91440">
            <a:noAutofit/>
          </a:bodyPr>
          <a:lstStyle/>
          <a:p>
            <a:r>
              <a:rPr lang="en-US">
                <a:solidFill>
                  <a:srgbClr val="F5F5F5"/>
                </a:solidFill>
                <a:latin typeface="Lucida Console" panose="020B0609040504020204" pitchFamily="49" charset="0"/>
              </a:rPr>
              <a:t>PS C:\&gt; </a:t>
            </a:r>
            <a:r>
              <a:rPr lang="en-US" sz="1800">
                <a:solidFill>
                  <a:srgbClr val="DB7093"/>
                </a:solidFill>
                <a:latin typeface="Lucida Console" panose="020B0609040504020204" pitchFamily="49" charset="0"/>
              </a:rPr>
              <a:t>'Output Stream'</a:t>
            </a:r>
          </a:p>
          <a:p>
            <a:r>
              <a:rPr lang="en-US">
                <a:solidFill>
                  <a:srgbClr val="F5F5F5"/>
                </a:solidFill>
                <a:latin typeface="Lucida Console" panose="020B0609040504020204" pitchFamily="49" charset="0"/>
              </a:rPr>
              <a:t>Output Stream</a:t>
            </a: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PS C:\&gt; </a:t>
            </a:r>
            <a:r>
              <a:rPr lang="en-US"/>
              <a:t> </a:t>
            </a:r>
            <a:r>
              <a:rPr lang="en-US" sz="1800">
                <a:solidFill>
                  <a:srgbClr val="E0FFFF"/>
                </a:solidFill>
                <a:latin typeface="Lucida Console" panose="020B0609040504020204" pitchFamily="49" charset="0"/>
              </a:rPr>
              <a:t>Write-Outpu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No </a:t>
            </a:r>
            <a:r>
              <a:rPr lang="en-US">
                <a:solidFill>
                  <a:srgbClr val="DB7093"/>
                </a:solidFill>
                <a:latin typeface="Lucida Console" panose="020B0609040504020204" pitchFamily="49" charset="0"/>
              </a:rPr>
              <a:t>preference variable available</a:t>
            </a:r>
            <a:r>
              <a:rPr lang="en-US" sz="1800">
                <a:solidFill>
                  <a:srgbClr val="DB7093"/>
                </a:solidFill>
                <a:latin typeface="Lucida Console" panose="020B0609040504020204" pitchFamily="49" charset="0"/>
              </a:rPr>
              <a:t>'</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No preference variable available</a:t>
            </a: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PS C:\&gt; </a:t>
            </a:r>
            <a:r>
              <a:rPr lang="en-US"/>
              <a:t> </a:t>
            </a:r>
            <a:r>
              <a:rPr lang="en-US" sz="1800">
                <a:solidFill>
                  <a:srgbClr val="E0FFFF"/>
                </a:solidFill>
                <a:latin typeface="Lucida Console" panose="020B0609040504020204" pitchFamily="49" charset="0"/>
              </a:rPr>
              <a:t>Write-Error</a:t>
            </a:r>
            <a:r>
              <a:rPr lang="en-US" sz="1800">
                <a:solidFill>
                  <a:srgbClr val="F5F5F5"/>
                </a:solidFill>
                <a:latin typeface="Lucida Console" panose="020B0609040504020204" pitchFamily="49" charset="0"/>
              </a:rPr>
              <a:t> </a:t>
            </a:r>
            <a:r>
              <a:rPr lang="en-US"/>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ErrorActionPreference</a:t>
            </a:r>
            <a:r>
              <a:rPr lang="en-US" sz="1800">
                <a:solidFill>
                  <a:srgbClr val="DB7093"/>
                </a:solidFill>
                <a:latin typeface="Lucida Console" panose="020B0609040504020204" pitchFamily="49" charset="0"/>
              </a:rPr>
              <a:t>"</a:t>
            </a:r>
          </a:p>
          <a:p>
            <a:r>
              <a:rPr lang="en-US" sz="1800">
                <a:solidFill>
                  <a:srgbClr val="FF9494"/>
                </a:solidFill>
                <a:latin typeface="Lucida Console" panose="020B0609040504020204" pitchFamily="49" charset="0"/>
              </a:rPr>
              <a:t>Write-Error  "$</a:t>
            </a:r>
            <a:r>
              <a:rPr lang="en-US" sz="1800" err="1">
                <a:solidFill>
                  <a:srgbClr val="FF9494"/>
                </a:solidFill>
                <a:latin typeface="Lucida Console" panose="020B0609040504020204" pitchFamily="49" charset="0"/>
              </a:rPr>
              <a:t>ErrorActionPreference</a:t>
            </a:r>
            <a:r>
              <a:rPr lang="en-US" sz="1800">
                <a:solidFill>
                  <a:srgbClr val="FF9494"/>
                </a:solidFill>
                <a:latin typeface="Lucida Console" panose="020B0609040504020204" pitchFamily="49" charset="0"/>
              </a:rPr>
              <a:t>“ : Continue</a:t>
            </a: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PS C:\&gt; </a:t>
            </a:r>
            <a:r>
              <a:rPr lang="en-US"/>
              <a:t> </a:t>
            </a:r>
            <a:r>
              <a:rPr lang="en-US" sz="1800">
                <a:solidFill>
                  <a:srgbClr val="E0FFFF"/>
                </a:solidFill>
                <a:latin typeface="Lucida Console" panose="020B0609040504020204" pitchFamily="49" charset="0"/>
              </a:rPr>
              <a:t>Write-Warning</a:t>
            </a:r>
            <a:r>
              <a:rPr lang="en-US" sz="1800">
                <a:solidFill>
                  <a:srgbClr val="F5F5F5"/>
                </a:solidFill>
                <a:latin typeface="Lucida Console" panose="020B0609040504020204" pitchFamily="49" charset="0"/>
              </a:rPr>
              <a:t> </a:t>
            </a:r>
            <a:r>
              <a:rPr lang="en-US"/>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WarningPreference</a:t>
            </a:r>
            <a:r>
              <a:rPr lang="en-US" sz="1800">
                <a:solidFill>
                  <a:srgbClr val="DB7093"/>
                </a:solidFill>
                <a:latin typeface="Lucida Console" panose="020B0609040504020204" pitchFamily="49" charset="0"/>
              </a:rPr>
              <a:t>"</a:t>
            </a:r>
            <a:endParaRPr lang="en-US">
              <a:solidFill>
                <a:srgbClr val="F5F5F5"/>
              </a:solidFill>
              <a:latin typeface="Lucida Console" panose="020B0609040504020204" pitchFamily="49" charset="0"/>
            </a:endParaRPr>
          </a:p>
          <a:p>
            <a:r>
              <a:rPr lang="en-US" sz="1800">
                <a:solidFill>
                  <a:srgbClr val="FF8C00"/>
                </a:solidFill>
                <a:latin typeface="Lucida Console" panose="020B0609040504020204" pitchFamily="49" charset="0"/>
              </a:rPr>
              <a:t>WARNING: Continue</a:t>
            </a: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PS C:\&gt; </a:t>
            </a:r>
            <a:r>
              <a:rPr lang="en-US"/>
              <a:t> </a:t>
            </a:r>
            <a:r>
              <a:rPr lang="en-US" sz="1800">
                <a:solidFill>
                  <a:srgbClr val="E0FFFF"/>
                </a:solidFill>
                <a:latin typeface="Lucida Console" panose="020B0609040504020204" pitchFamily="49" charset="0"/>
              </a:rPr>
              <a:t>Write-Verbose</a:t>
            </a:r>
            <a:r>
              <a:rPr lang="en-US" sz="1800">
                <a:solidFill>
                  <a:srgbClr val="F5F5F5"/>
                </a:solidFill>
                <a:latin typeface="Lucida Console" panose="020B0609040504020204" pitchFamily="49" charset="0"/>
              </a:rPr>
              <a:t> </a:t>
            </a:r>
            <a:r>
              <a:rPr lang="en-US"/>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VerbosePreference</a:t>
            </a:r>
            <a:r>
              <a:rPr lang="en-US" sz="1800">
                <a:solidFill>
                  <a:srgbClr val="DB7093"/>
                </a:solidFill>
                <a:latin typeface="Lucida Console" panose="020B0609040504020204" pitchFamily="49" charset="0"/>
              </a:rPr>
              <a:t>" </a:t>
            </a:r>
            <a:r>
              <a:rPr lang="en-US" sz="1800">
                <a:solidFill>
                  <a:srgbClr val="FFE4B5"/>
                </a:solidFill>
                <a:latin typeface="Lucida Console" panose="020B0609040504020204" pitchFamily="49" charset="0"/>
              </a:rPr>
              <a:t>-Verbose</a:t>
            </a:r>
            <a:endParaRPr lang="en-US">
              <a:solidFill>
                <a:srgbClr val="F5F5F5"/>
              </a:solidFill>
              <a:latin typeface="Lucida Console" panose="020B0609040504020204" pitchFamily="49" charset="0"/>
            </a:endParaRPr>
          </a:p>
          <a:p>
            <a:r>
              <a:rPr lang="en-US" sz="1800">
                <a:solidFill>
                  <a:srgbClr val="00FFFF"/>
                </a:solidFill>
                <a:latin typeface="Lucida Console" panose="020B0609040504020204" pitchFamily="49" charset="0"/>
              </a:rPr>
              <a:t>VERBOSE: </a:t>
            </a:r>
            <a:r>
              <a:rPr lang="en-US" sz="1800" err="1">
                <a:solidFill>
                  <a:srgbClr val="00FFFF"/>
                </a:solidFill>
                <a:latin typeface="Lucida Console" panose="020B0609040504020204" pitchFamily="49" charset="0"/>
              </a:rPr>
              <a:t>SilentlyContinue</a:t>
            </a:r>
            <a:endParaRPr lang="en-US" sz="1800">
              <a:solidFill>
                <a:srgbClr val="00FFFF"/>
              </a:solidFill>
              <a:latin typeface="Lucida Console" panose="020B0609040504020204" pitchFamily="49" charset="0"/>
            </a:endParaRP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PS C:\&gt; </a:t>
            </a:r>
            <a:r>
              <a:rPr lang="en-US"/>
              <a:t> </a:t>
            </a:r>
            <a:r>
              <a:rPr lang="en-US" sz="1800">
                <a:solidFill>
                  <a:srgbClr val="E0FFFF"/>
                </a:solidFill>
                <a:latin typeface="Lucida Console" panose="020B0609040504020204" pitchFamily="49" charset="0"/>
              </a:rPr>
              <a:t>Write-Debug</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DebugPreference</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Debug</a:t>
            </a:r>
          </a:p>
          <a:p>
            <a:r>
              <a:rPr lang="en-US">
                <a:solidFill>
                  <a:srgbClr val="50E6FF"/>
                </a:solidFill>
                <a:latin typeface="Lucida Console" panose="020B0609040504020204" pitchFamily="49" charset="0"/>
              </a:rPr>
              <a:t>DEBUG: </a:t>
            </a:r>
            <a:r>
              <a:rPr lang="en-US" err="1">
                <a:solidFill>
                  <a:srgbClr val="50E6FF"/>
                </a:solidFill>
                <a:latin typeface="Lucida Console" panose="020B0609040504020204" pitchFamily="49" charset="0"/>
              </a:rPr>
              <a:t>SilentlyContinue</a:t>
            </a:r>
            <a:endParaRPr lang="en-US">
              <a:solidFill>
                <a:srgbClr val="50E6FF"/>
              </a:solidFill>
              <a:latin typeface="Lucida Console" panose="020B0609040504020204" pitchFamily="49" charset="0"/>
            </a:endParaRPr>
          </a:p>
          <a:p>
            <a:endParaRPr lang="en-US">
              <a:solidFill>
                <a:srgbClr val="50E6FF"/>
              </a:solidFill>
              <a:latin typeface="Lucida Console" panose="020B0609040504020204" pitchFamily="49" charset="0"/>
            </a:endParaRPr>
          </a:p>
          <a:p>
            <a:pPr defTabSz="914367">
              <a:defRPr/>
            </a:pPr>
            <a:r>
              <a:rPr lang="en-US">
                <a:solidFill>
                  <a:srgbClr val="F5F5F5"/>
                </a:solidFill>
                <a:latin typeface="Lucida Console" panose="020B0609040504020204" pitchFamily="49" charset="0"/>
              </a:rPr>
              <a:t>PS C:\&gt; </a:t>
            </a:r>
            <a:r>
              <a:rPr lang="en-US"/>
              <a:t> </a:t>
            </a:r>
            <a:r>
              <a:rPr lang="en-US" sz="1800">
                <a:solidFill>
                  <a:srgbClr val="E0FFFF"/>
                </a:solidFill>
                <a:latin typeface="Lucida Console" panose="020B0609040504020204" pitchFamily="49" charset="0"/>
              </a:rPr>
              <a:t>Write-Information</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InformationPreference</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InformationA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Continue</a:t>
            </a:r>
            <a:endParaRPr lang="en-US">
              <a:solidFill>
                <a:srgbClr val="F5F5F5"/>
              </a:solidFill>
              <a:latin typeface="Lucida Console" panose="020B0609040504020204" pitchFamily="49" charset="0"/>
            </a:endParaRPr>
          </a:p>
          <a:p>
            <a:pPr lvl="0" defTabSz="914367">
              <a:defRPr/>
            </a:pPr>
            <a:r>
              <a:rPr lang="en-US" err="1">
                <a:solidFill>
                  <a:srgbClr val="F5F5F5"/>
                </a:solidFill>
                <a:latin typeface="Lucida Console" panose="020B0609040504020204" pitchFamily="49" charset="0"/>
              </a:rPr>
              <a:t>SilentlyContinue</a:t>
            </a:r>
            <a:endParaRPr lang="en-US">
              <a:solidFill>
                <a:srgbClr val="00FFFF"/>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61585193"/>
      </p:ext>
    </p:extLst>
  </p:cSld>
  <p:clrMapOvr>
    <a:masterClrMapping/>
  </p:clrMapOvr>
  <p:transition spd="slow"/>
  <p:extLst>
    <p:ext uri="{6950BFC3-D8DA-4A85-94F7-54DA5524770B}">
      <p188:commentRel xmlns:p188="http://schemas.microsoft.com/office/powerpoint/2018/8/main" r:id="rId5"/>
    </p:ext>
  </p:extLst>
</p:sld>
</file>

<file path=ppt/slides/slide8.xml><?xml version="1.0" encoding="utf-8"?>
<p:sld xmlns:a16="http://schemas.microsoft.com/office/drawing/2014/main"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Streams</a:t>
            </a:r>
          </a:p>
        </p:txBody>
      </p:sp>
      <p:pic>
        <p:nvPicPr>
          <p:cNvPr id="5" name="Demo 01" descr="A person standing in front of a screen.">
            <a:extLst>
              <a:ext uri="{FF2B5EF4-FFF2-40B4-BE49-F238E27FC236}">
                <a16:creationId xmlns:a16="http://schemas.microsoft.com/office/drawing/2014/main" id="{88694DD0-5ED7-4D9A-90CB-D92461780C6E}"/>
              </a:ext>
            </a:extLst>
          </p:cNvPr>
          <p:cNvPicPr>
            <a:picLocks noGrp="1" noChangeAspect="1"/>
          </p:cNvPicPr>
          <p:nvPr>
            <p:ph type="pic" sz="quarter" idx="15"/>
            <p:custDataLst>
              <p:tags r:id="rId2"/>
            </p:custDataLst>
          </p:nvPr>
        </p:nvPicPr>
        <p:blipFill>
          <a:blip r:embed="rId6"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872290110"/>
      </p:ext>
    </p:extLst>
  </p:cSld>
  <p:clrMapOvr>
    <a:masterClrMapping/>
  </p:clrMapOvr>
  <p:transition spd="slow"/>
  <p:extLst>
    <p:ext uri="{6950BFC3-D8DA-4A85-94F7-54DA5524770B}">
      <p188:commentRel xmlns:p188="http://schemas.microsoft.com/office/powerpoint/2018/8/main" r:id="rId5"/>
    </p:ext>
  </p:extLst>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811482172"/>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D29A110-DBDA-4B93-9C18-201D859503B3}&lt;/SectionId&gt;&lt;Name&gt;WorkshopPLUS - Windows PowerShell: Tool Building&lt;/Name&gt;&lt;SlidesCount&gt;3&lt;/SlidesCount&gt;&lt;SlideGuids /&gt;&lt;/NativeSection&gt;&lt;NativeSection&gt;&lt;SectionId&gt;{7DE34CEA-CA45-43F2-BD43-FB5AEF8887E3}&lt;/SectionId&gt;&lt;Name&gt;Introduction to Error Handling&lt;/Name&gt;&lt;SlidesCount&gt;6&lt;/SlidesCount&gt;&lt;SlideGuids /&gt;&lt;/NativeSection&gt;&lt;NativeSection&gt;&lt;SectionId&gt;{9BE9C8F4-DFBB-48F2-8ECE-EF1E34DFF3C1}&lt;/SectionId&gt;&lt;Name&gt;Streams&lt;/Name&gt;&lt;SlidesCount&gt;11&lt;/SlidesCount&gt;&lt;SlideGuids /&gt;&lt;/NativeSection&gt;&lt;NativeSection&gt;&lt;SectionId&gt;{88374C06-C2E6-4C71-A1B2-1EAFC4F658E2}&lt;/SectionId&gt;&lt;Name&gt;Write-Host and Streams&lt;/Name&gt;&lt;SlidesCount&gt;8&lt;/SlidesCount&gt;&lt;SlideGuids /&gt;&lt;/NativeSection&gt;&lt;NativeSection&gt;&lt;SectionId&gt;{42AE3E5E-B795-4755-8734-837CB0C7989C}&lt;/SectionId&gt;&lt;Name&gt;Working with ErrorRecord Object&lt;/Name&gt;&lt;SlidesCount&gt;8&lt;/SlidesCount&gt;&lt;SlideGuids /&gt;&lt;/NativeSection&gt;&lt;NativeSection&gt;&lt;SectionId&gt;{C8AB1A3D-F849-44A7-A695-996ADEE39805}&lt;/SectionId&gt;&lt;Name&gt;Non-Terminating Errors&lt;/Name&gt;&lt;SlidesCount&gt;8&lt;/SlidesCount&gt;&lt;SlideGuids /&gt;&lt;/NativeSection&gt;&lt;NativeSection&gt;&lt;SectionId&gt;{5A9EEC9A-9D1E-431A-B9A4-BF04A8DAD854}&lt;/SectionId&gt;&lt;Name&gt;Introduction to Terminating Errors&lt;/Name&gt;&lt;SlidesCount&gt;8&lt;/SlidesCount&gt;&lt;SlideGuids /&gt;&lt;/NativeSection&gt;&lt;NativeSection&gt;&lt;SectionId&gt;{D2AB517D-A2F1-4202-B349-A726341D65F6}&lt;/SectionId&gt;&lt;Name&gt;Catching Terminating Errors using Trap&lt;/Name&gt;&lt;SlidesCount&gt;4&lt;/SlidesCount&gt;&lt;SlideGuids /&gt;&lt;/NativeSection&gt;&lt;NativeSection&gt;&lt;SectionId&gt;{96211BAB-242F-4D44-AAEF-CDE0BE024779}&lt;/SectionId&gt;&lt;Name&gt;Catcing Terminating Errors Try {} Catch {} Finally {}&lt;/Name&gt;&lt;SlidesCount&gt;8&lt;/SlidesCount&gt;&lt;SlideGuids /&gt;&lt;/NativeSection&gt;&lt;NativeSection&gt;&lt;SectionId&gt;{7DD323A3-00F0-47D5-B5ED-27A87BA57036}&lt;/SectionId&gt;&lt;Name&gt;LAB: Error Handling&lt;/Name&gt;&lt;SlidesCount&gt;2&lt;/SlidesCount&gt;&lt;SlideGuids /&gt;&lt;/NativeSection&gt;&lt;/ArrayOfNativeSection&gt;"/>
  <p:tag name="MIO_EKGUID" val="5ce9d3d1-5488-4fdf-b5ba-b1cf91132dc5"/>
  <p:tag name="MIO_UPDATE" val="True"/>
  <p:tag name="MIO_VERSION" val="02.03.2020 12:28:19"/>
  <p:tag name="MIO_DBID" val="12B0C59E-2253-4124-A5E9-470ADF4CB168"/>
  <p:tag name="MIO_LASTDOWNLOADED" val="17.11.2020 14:34:13"/>
  <p:tag name="MIO_OBJECTNAME" val="M05 Error Handling"/>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01ec0f6d-a8b4-415b-8dd7-7e96fb33c63c"/>
  <p:tag name="MIO_EKGUID" val="1a463a45-113c-444e-ad4e-81ea9c440a19"/>
  <p:tag name="MIO_UPDATE" val="True"/>
  <p:tag name="MIO_VERSION" val="02.03.2020 12:28:12"/>
  <p:tag name="MIO_DBID" val="12b0c59e-2253-4124-a5e9-470adf4cb168"/>
  <p:tag name="MIO_LASTDOWNLOADED" val="02.03.2020 12:50:52"/>
  <p:tag name="MIO_OBJECTNAME" val="Stream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934f4bea-e7b0-4375-aab9-53f0dcb3dcf5"/>
  <p:tag name="MIO_EKGUID" val="4aed8e79-f3cc-4893-89ac-eaa204a69369"/>
  <p:tag name="MIO_UPDATE" val="True"/>
  <p:tag name="MIO_VERSION" val="02.03.2020 12:28:12"/>
  <p:tag name="MIO_DBID" val="12b0c59e-2253-4124-a5e9-470adf4cb168"/>
  <p:tag name="MIO_LASTDOWNLOADED" val="02.03.2020 12:50:51"/>
  <p:tag name="MIO_OBJECTNAME" val="What to do when an error occur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9768bb3-dc05-4568-b663-eaf47020dc18"/>
  <p:tag name="MIO_EKGUID" val="3c8db07c-d9ef-4fc2-b742-e192b6d1e407"/>
  <p:tag name="MIO_UPDATE" val="True"/>
  <p:tag name="MIO_VERSION" val="02.03.2020 12:28:13"/>
  <p:tag name="MIO_DBID" val="12b0c59e-2253-4124-a5e9-470adf4cb168"/>
  <p:tag name="MIO_LASTDOWNLOADED" val="02.03.2020 12:50:52"/>
  <p:tag name="MIO_OBJECTNAME" val="The Stream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75521061-da61-4893-9ac6-4ab6aeeea382"/>
  <p:tag name="MIO_EKGUID" val="d2c93c84-cd4d-448b-8a09-1471a9a19c06"/>
  <p:tag name="MIO_UPDATE" val="True"/>
  <p:tag name="MIO_VERSION" val="02.03.2020 12:28:13"/>
  <p:tag name="MIO_DBID" val="12b0c59e-2253-4124-a5e9-470adf4cb168"/>
  <p:tag name="MIO_LASTDOWNLOADED" val="02.03.2020 12:50:52"/>
  <p:tag name="MIO_OBJECTNAME" val="Stream Cmdlet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5:29:29"/>
  <p:tag name="MIO_OBJECTNAME" val="Code Box"/>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63f2788e-ee17-4967-8d1c-ba7d05fd3269"/>
  <p:tag name="MIO_UPDATE" val="True"/>
  <p:tag name="MIO_VERSION" val="02.03.2020 12:28:13"/>
  <p:tag name="MIO_DBID" val="12b0c59e-2253-4124-a5e9-470adf4cb168"/>
  <p:tag name="MIO_LASTDOWNLOADED" val="02.03.2020 12:50:53"/>
  <p:tag name="MIO_OBJECTNAME" val="Demonstration"/>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dcbac077-715b-47f7-a8a6-91e814907cd9"/>
  <p:tag name="MIO_UPDATE" val="True"/>
  <p:tag name="MIO_VERSION" val="20.09.2019 20:13:13"/>
  <p:tag name="MIO_DBID" val="12B0C59E-2253-4124-A5E9-470ADF4CB168"/>
  <p:tag name="MIO_LASTDOWNLOADED" val="10.12.2019 15:41:48"/>
  <p:tag name="MIO_OBJECTNAME" val="Demo 01"/>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dcb408f9-77a7-4071-affe-7f76f3d89394"/>
  <p:tag name="MIO_UPDATE" val="True"/>
  <p:tag name="MIO_VERSION" val="02.03.2020 12:28:13"/>
  <p:tag name="MIO_DBID" val="12b0c59e-2253-4124-a5e9-470adf4cb168"/>
  <p:tag name="MIO_LASTDOWNLOADED" val="02.03.2020 12:50:53"/>
  <p:tag name="MIO_OBJECTNAME" val="Questions? (2)"/>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8837903e-13f5-4717-b28d-bc168de2b4c7"/>
  <p:tag name="MIO_EKGUID" val="7608a969-f6c1-469e-8624-2e29d1ed00f8"/>
  <p:tag name="MIO_UPDATE" val="True"/>
  <p:tag name="MIO_VERSION" val="02.03.2020 12:28:12"/>
  <p:tag name="MIO_DBID" val="12b0c59e-2253-4124-a5e9-470adf4cb168"/>
  <p:tag name="MIO_LASTDOWNLOADED" val="02.03.2020 12:50:51"/>
  <p:tag name="MIO_OBJECTNAME" val="Introduction to Error Handling"/>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934f4bea-e7b0-4375-aab9-53f0dcb3dcf5"/>
  <p:tag name="MIO_EKGUID" val="4aed8e79-f3cc-4893-89ac-eaa204a69369"/>
  <p:tag name="MIO_UPDATE" val="True"/>
  <p:tag name="MIO_VERSION" val="02.03.2020 12:28:12"/>
  <p:tag name="MIO_DBID" val="12b0c59e-2253-4124-a5e9-470adf4cb168"/>
  <p:tag name="MIO_LASTDOWNLOADED" val="02.03.2020 12:50:51"/>
  <p:tag name="MIO_OBJECTNAME" val="What to do when an error occur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63f2788e-ee17-4967-8d1c-ba7d05fd3269"/>
  <p:tag name="MIO_UPDATE" val="True"/>
  <p:tag name="MIO_VERSION" val="02.03.2020 12:28:13"/>
  <p:tag name="MIO_DBID" val="12b0c59e-2253-4124-a5e9-470adf4cb168"/>
  <p:tag name="MIO_LASTDOWNLOADED" val="02.03.2020 12:50:53"/>
  <p:tag name="MIO_OBJECTNAME" val="Demonstration"/>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dcbac077-715b-47f7-a8a6-91e814907cd9"/>
  <p:tag name="MIO_UPDATE" val="True"/>
  <p:tag name="MIO_VERSION" val="20.09.2019 20:13:13"/>
  <p:tag name="MIO_DBID" val="12B0C59E-2253-4124-A5E9-470ADF4CB168"/>
  <p:tag name="MIO_LASTDOWNLOADED" val="10.12.2019 15:41:48"/>
  <p:tag name="MIO_OBJECTNAME" val="Demo 01"/>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fa6545a-d5c2-489c-b934-71088e9b9c58"/>
  <p:tag name="MIO_UPDATE" val="True"/>
  <p:tag name="MIO_VERSION" val="02.03.2020 12:28:12"/>
  <p:tag name="MIO_DBID" val="12b0c59e-2253-4124-a5e9-470adf4cb168"/>
  <p:tag name="MIO_LASTDOWNLOADED" val="02.03.2020 12:50:52"/>
  <p:tag name="MIO_OBJECTNAME" val="Question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934f4bea-e7b0-4375-aab9-53f0dcb3dcf5"/>
  <p:tag name="MIO_EKGUID" val="4aed8e79-f3cc-4893-89ac-eaa204a69369"/>
  <p:tag name="MIO_UPDATE" val="True"/>
  <p:tag name="MIO_VERSION" val="02.03.2020 12:28:12"/>
  <p:tag name="MIO_DBID" val="12b0c59e-2253-4124-a5e9-470adf4cb168"/>
  <p:tag name="MIO_LASTDOWNLOADED" val="02.03.2020 12:50:51"/>
  <p:tag name="MIO_OBJECTNAME" val="What to do when an error occur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431fb792-2bf0-4ea4-9489-b46de8b538b8"/>
  <p:tag name="MIO_EKGUID" val="5cdaced5-dd94-438b-8435-51b5668271d9"/>
  <p:tag name="MIO_UPDATE" val="True"/>
  <p:tag name="MIO_VERSION" val="02.03.2020 12:28:14"/>
  <p:tag name="MIO_DBID" val="12b0c59e-2253-4124-a5e9-470adf4cb168"/>
  <p:tag name="MIO_LASTDOWNLOADED" val="02.03.2020 12:50:54"/>
  <p:tag name="MIO_OBJECTNAME" val="$Error – View all properties of ErrorRecord"/>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431fb792-2bf0-4ea4-9489-b46de8b538b8"/>
  <p:tag name="MIO_EKGUID" val="5cdaced5-dd94-438b-8435-51b5668271d9"/>
  <p:tag name="MIO_UPDATE" val="True"/>
  <p:tag name="MIO_VERSION" val="02.03.2020 12:28:14"/>
  <p:tag name="MIO_DBID" val="12b0c59e-2253-4124-a5e9-470adf4cb168"/>
  <p:tag name="MIO_LASTDOWNLOADED" val="02.03.2020 12:50:54"/>
  <p:tag name="MIO_OBJECTNAME" val="$Error – View all properties of ErrorRecord"/>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2c80672a-afda-4c04-be96-394711e90c25"/>
  <p:tag name="MIO_EKGUID" val="f48f1b07-226f-4330-ad76-093f48e73858"/>
  <p:tag name="MIO_UPDATE" val="True"/>
  <p:tag name="MIO_VERSION" val="02.03.2020 12:28:15"/>
  <p:tag name="MIO_DBID" val="12b0c59e-2253-4124-a5e9-470adf4cb168"/>
  <p:tag name="MIO_LASTDOWNLOADED" val="02.03.2020 12:50:54"/>
  <p:tag name="MIO_OBJECTNAME" val="-ErrorVariable Common Parameter"/>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3139e65b-73ef-4aa5-bc5b-5701146a1fed"/>
  <p:tag name="MIO_EKGUID" val="e25fdee7-088a-48c8-b948-7ca49374af80"/>
  <p:tag name="MIO_UPDATE" val="True"/>
  <p:tag name="MIO_VERSION" val="02.03.2020 12:28:16"/>
  <p:tag name="MIO_DBID" val="12b0c59e-2253-4124-a5e9-470adf4cb168"/>
  <p:tag name="MIO_LASTDOWNLOADED" val="02.03.2020 12:50:55"/>
  <p:tag name="MIO_OBJECTNAME" val="Write-Error"/>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38:04"/>
  <p:tag name="MIO_OBJECTNAME" val="Code Box"/>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c983640f-b38c-4c46-b7b8-b3daa819e351"/>
  <p:tag name="MIO_EKGUID" val="1a6f0fd1-cd87-43e7-bf11-b004a9d88ffb"/>
  <p:tag name="MIO_UPDATE" val="True"/>
  <p:tag name="MIO_VERSION" val="02.03.2020 12:28:15"/>
  <p:tag name="MIO_DBID" val="12b0c59e-2253-4124-a5e9-470adf4cb168"/>
  <p:tag name="MIO_LASTDOWNLOADED" val="02.03.2020 12:50:55"/>
  <p:tag name="MIO_OBJECTNAME" val="Non-Terminating error handling flow"/>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1.xml><?xml version="1.0" encoding="utf-8"?>
<p:tagLst xmlns:a="http://schemas.openxmlformats.org/drawingml/2006/main" xmlns:r="http://schemas.openxmlformats.org/officeDocument/2006/relationships" xmlns:p="http://schemas.openxmlformats.org/presentationml/2006/main">
  <p:tag name="MIO_GUID" val="c983640f-b38c-4c46-b7b8-b3daa819e351"/>
  <p:tag name="MIO_EKGUID" val="1a6f0fd1-cd87-43e7-bf11-b004a9d88ffb"/>
  <p:tag name="MIO_UPDATE" val="True"/>
  <p:tag name="MIO_VERSION" val="02.03.2020 12:28:15"/>
  <p:tag name="MIO_DBID" val="12b0c59e-2253-4124-a5e9-470adf4cb168"/>
  <p:tag name="MIO_LASTDOWNLOADED" val="02.03.2020 12:50:55"/>
  <p:tag name="MIO_OBJECTNAME" val="Non-Terminating error handling flow"/>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c983640f-b38c-4c46-b7b8-b3daa819e351"/>
  <p:tag name="MIO_EKGUID" val="1a6f0fd1-cd87-43e7-bf11-b004a9d88ffb"/>
  <p:tag name="MIO_UPDATE" val="True"/>
  <p:tag name="MIO_VERSION" val="02.03.2020 12:28:15"/>
  <p:tag name="MIO_DBID" val="12b0c59e-2253-4124-a5e9-470adf4cb168"/>
  <p:tag name="MIO_LASTDOWNLOADED" val="02.03.2020 12:50:55"/>
  <p:tag name="MIO_OBJECTNAME" val="Non-Terminating error handling flow"/>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f2c46a6-df06-4733-9108-cc9bd6607ca4"/>
  <p:tag name="MIO_UPDATE" val="True"/>
  <p:tag name="MIO_VERSION" val="02.03.2020 12:28:16"/>
  <p:tag name="MIO_DBID" val="12b0c59e-2253-4124-a5e9-470adf4cb168"/>
  <p:tag name="MIO_LASTDOWNLOADED" val="02.03.2020 12:50:55"/>
  <p:tag name="MIO_OBJECTNAME" val="Demonstration (4)"/>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fb812085-9c5a-4c33-8cd4-b74499a98f0f"/>
  <p:tag name="MIO_UPDATE" val="True"/>
  <p:tag name="MIO_VERSION" val="20.09.2019 20:13:13"/>
  <p:tag name="MIO_DBID" val="12B0C59E-2253-4124-A5E9-470ADF4CB168"/>
  <p:tag name="MIO_LASTDOWNLOADED" val="10.12.2019 16:03:08"/>
  <p:tag name="MIO_OBJECTNAME" val="Demo 01"/>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f40aebd1-5ea2-456d-9adf-fd4a4a9b9306"/>
  <p:tag name="MIO_UPDATE" val="True"/>
  <p:tag name="MIO_VERSION" val="02.03.2020 12:28:16"/>
  <p:tag name="MIO_DBID" val="12b0c59e-2253-4124-a5e9-470adf4cb168"/>
  <p:tag name="MIO_LASTDOWNLOADED" val="02.03.2020 12:50:55"/>
  <p:tag name="MIO_OBJECTNAME" val="Questions? (5)"/>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d47eeea8-c885-420d-a952-56dc7280178c"/>
  <p:tag name="MIO_EKGUID" val="1b595c8b-dabf-4277-8975-421cfeb794f9"/>
  <p:tag name="MIO_UPDATE" val="True"/>
  <p:tag name="MIO_VERSION" val="02.03.2020 12:28:16"/>
  <p:tag name="MIO_DBID" val="12b0c59e-2253-4124-a5e9-470adf4cb168"/>
  <p:tag name="MIO_LASTDOWNLOADED" val="02.03.2020 12:50:55"/>
  <p:tag name="MIO_OBJECTNAME" val="Introduction to Terminating Error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2:56"/>
  <p:tag name="MIO_OBJECTNAME" val="Light Grey"/>
  <p:tag name="MIO_CDID" val="0abed30f-9490-41c0-b430-1d8e289568da"/>
</p:tagLst>
</file>

<file path=ppt/tags/tag51.xml><?xml version="1.0" encoding="utf-8"?>
<p:tagLst xmlns:a="http://schemas.openxmlformats.org/drawingml/2006/main" xmlns:r="http://schemas.openxmlformats.org/officeDocument/2006/relationships" xmlns:p="http://schemas.openxmlformats.org/presentationml/2006/main">
  <p:tag name="MIO_GUID" val="551ff2e8-0a7d-4b54-94e0-e3c3f8137bc3"/>
  <p:tag name="MIO_EKGUID" val="247c540e-ad4c-42e1-9ae2-7f59c5d31012"/>
  <p:tag name="MIO_UPDATE" val="True"/>
  <p:tag name="MIO_VERSION" val="02.03.2020 12:28:16"/>
  <p:tag name="MIO_DBID" val="12b0c59e-2253-4124-a5e9-470adf4cb168"/>
  <p:tag name="MIO_LASTDOWNLOADED" val="02.03.2020 12:50:56"/>
  <p:tag name="MIO_OBJECTNAME" val="Example: Trace parameter binding"/>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55546e4-28bc-45b9-bae4-4baa5eb26497"/>
  <p:tag name="MIO_EKGUID" val="00a55bda-08d0-4d9d-8f1a-8e93f771e94d"/>
  <p:tag name="MIO_UPDATE" val="True"/>
  <p:tag name="MIO_VERSION" val="02.03.2020 12:28:16"/>
  <p:tag name="MIO_DBID" val="12b0c59e-2253-4124-a5e9-470adf4cb168"/>
  <p:tag name="MIO_LASTDOWNLOADED" val="02.03.2020 12:50:56"/>
  <p:tag name="MIO_OBJECTNAME" val="Type of the Exception"/>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fa154a6e-3b3d-40b4-a4f5-52d242c08de7"/>
  <p:tag name="MIO_UPDATE" val="True"/>
  <p:tag name="MIO_VERSION" val="02.03.2020 12:28:17"/>
  <p:tag name="MIO_DBID" val="12b0c59e-2253-4124-a5e9-470adf4cb168"/>
  <p:tag name="MIO_LASTDOWNLOADED" val="02.03.2020 12:50:56"/>
  <p:tag name="MIO_OBJECTNAME" val="Demonstration (5)"/>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366452f5-1671-42ad-a03c-d4b66d8c80ba"/>
  <p:tag name="MIO_UPDATE" val="True"/>
  <p:tag name="MIO_VERSION" val="20.09.2019 20:13:13"/>
  <p:tag name="MIO_DBID" val="12B0C59E-2253-4124-A5E9-470ADF4CB168"/>
  <p:tag name="MIO_LASTDOWNLOADED" val="10.12.2019 16:13:14"/>
  <p:tag name="MIO_OBJECTNAME" val="Demo 01"/>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6914e9c-9b05-4342-8662-0da039fc1896"/>
  <p:tag name="MIO_UPDATE" val="True"/>
  <p:tag name="MIO_VERSION" val="02.03.2020 12:28:17"/>
  <p:tag name="MIO_DBID" val="12b0c59e-2253-4124-a5e9-470adf4cb168"/>
  <p:tag name="MIO_LASTDOWNLOADED" val="02.03.2020 12:50:56"/>
  <p:tag name="MIO_OBJECTNAME" val="Questions? (6)"/>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d60fb49e-a005-4ace-aa5d-f1eacad57e18"/>
  <p:tag name="MIO_EKGUID" val="dbc42f1c-298f-4a45-a677-d596d532fb5e"/>
  <p:tag name="MIO_UPDATE" val="True"/>
  <p:tag name="MIO_VERSION" val="02.03.2020 12:28:17"/>
  <p:tag name="MIO_DBID" val="12b0c59e-2253-4124-a5e9-470adf4cb168"/>
  <p:tag name="MIO_LASTDOWNLOADED" val="02.03.2020 12:50:56"/>
  <p:tag name="MIO_OBJECTNAME" val="Catching Terminating Errors using Trap"/>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ccab4968-4723-466c-953d-fca816dc12fb"/>
  <p:tag name="MIO_EKGUID" val="17ed316d-be21-4e24-8795-f652e1350015"/>
  <p:tag name="MIO_UPDATE" val="True"/>
  <p:tag name="MIO_VERSION" val="02.03.2020 12:28:12"/>
  <p:tag name="MIO_DBID" val="12b0c59e-2253-4124-a5e9-470adf4cb168"/>
  <p:tag name="MIO_LASTDOWNLOADED" val="02.03.2020 12:50:51"/>
  <p:tag name="MIO_OBJECTNAME" val="Error Handling"/>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91202ba1-86b7-4ecd-8ea7-7db93da0994b"/>
  <p:tag name="MIO_EKGUID" val="b1d9f027-8e94-4b9c-bc96-d56eedf1af8e"/>
  <p:tag name="MIO_UPDATE" val="True"/>
  <p:tag name="MIO_VERSION" val="02.03.2020 12:28:17"/>
  <p:tag name="MIO_DBID" val="12b0c59e-2253-4124-a5e9-470adf4cb168"/>
  <p:tag name="MIO_LASTDOWNLOADED" val="02.03.2020 12:50:56"/>
  <p:tag name="MIO_OBJECTNAME" val="Example: Trap"/>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e4c1301b-f226-4e69-ad0b-42ec0c9f0603"/>
  <p:tag name="MIO_UPDATE" val="True"/>
  <p:tag name="MIO_VERSION" val="05.11.2019 23:49:45"/>
  <p:tag name="MIO_DBID" val="12B0C59E-2253-4124-A5E9-470ADF4CB168"/>
  <p:tag name="MIO_LASTDOWNLOADED" val="10.12.2019 16:13:50"/>
  <p:tag name="MIO_OBJECTNAME" val="Code &amp; Execute"/>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108df45-07c4-4054-a08a-b7e5f8579b89"/>
  <p:tag name="MIO_UPDATE" val="True"/>
  <p:tag name="MIO_VERSION" val="02.03.2020 12:28:17"/>
  <p:tag name="MIO_DBID" val="12b0c59e-2253-4124-a5e9-470adf4cb168"/>
  <p:tag name="MIO_LASTDOWNLOADED" val="02.03.2020 12:50:56"/>
  <p:tag name="MIO_OBJECTNAME" val="Demonstration (6)"/>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36f30cfc-6ee2-4e57-99f9-b61537e5a5fe"/>
  <p:tag name="MIO_UPDATE" val="True"/>
  <p:tag name="MIO_VERSION" val="20.09.2019 20:13:13"/>
  <p:tag name="MIO_DBID" val="12B0C59E-2253-4124-A5E9-470ADF4CB168"/>
  <p:tag name="MIO_LASTDOWNLOADED" val="10.12.2019 16:19:13"/>
  <p:tag name="MIO_OBJECTNAME" val="Demo 01"/>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96ae9900-d91a-4abb-b251-435bb3b0eb28"/>
  <p:tag name="MIO_EKGUID" val="9f576737-be4f-42d7-bb98-8f1a0a6cce81"/>
  <p:tag name="MIO_UPDATE" val="True"/>
  <p:tag name="MIO_VERSION" val="02.03.2020 12:28:17"/>
  <p:tag name="MIO_DBID" val="12b0c59e-2253-4124-a5e9-470adf4cb168"/>
  <p:tag name="MIO_LASTDOWNLOADED" val="02.03.2020 12:50:57"/>
  <p:tag name="MIO_OBJECTNAME" val="Catching Terminating Errors Try {} Catch {} Finally {}"/>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eb64e907-3378-4ad4-be9a-ab7c42e6da5e"/>
  <p:tag name="MIO_EKGUID" val="68acf9eb-8b66-4280-ab43-894fd845d33c"/>
  <p:tag name="MIO_UPDATE" val="True"/>
  <p:tag name="MIO_VERSION" val="02.03.2020 12:28:12"/>
  <p:tag name="MIO_DBID" val="12b0c59e-2253-4124-a5e9-470adf4cb168"/>
  <p:tag name="MIO_LASTDOWNLOADED" val="02.03.2020 12:50:51"/>
  <p:tag name="MIO_OBJECTNAME" val="Disclaimer"/>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22:17"/>
  <p:tag name="MIO_OBJECTNAME" val="Code Box"/>
  <p:tag name="MIO_LASTEDITORNAME" val="Devid Treuling"/>
</p:tagLst>
</file>

<file path=ppt/tags/tag73.xml><?xml version="1.0" encoding="utf-8"?>
<p:tagLst xmlns:a="http://schemas.openxmlformats.org/drawingml/2006/main" xmlns:r="http://schemas.openxmlformats.org/officeDocument/2006/relationships" xmlns:p="http://schemas.openxmlformats.org/presentationml/2006/main">
  <p:tag name="MIO_GUID" val="0b7290d4-5ff6-435d-b256-4146e3d498fb"/>
  <p:tag name="MIO_EKGUID" val="c7d108dd-00eb-4a5e-a3a0-07ceb46b3640"/>
  <p:tag name="MIO_UPDATE" val="True"/>
  <p:tag name="MIO_VERSION" val="02.03.2020 12:28:18"/>
  <p:tag name="MIO_DBID" val="12b0c59e-2253-4124-a5e9-470adf4cb168"/>
  <p:tag name="MIO_LASTDOWNLOADED" val="02.03.2020 12:50:57"/>
  <p:tag name="MIO_OBJECTNAME" val="Example: Try/Catch/Finally"/>
  <p:tag name="MIO_LASTEDITORNAME" val="Devid Treuling"/>
</p:tagLst>
</file>

<file path=ppt/tags/tag7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24:45"/>
  <p:tag name="MIO_OBJECTNAME" val="Code Box"/>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GUID" val="4cec0243-7e8b-4a71-82fd-aa67fc604736"/>
  <p:tag name="MIO_EKGUID" val="05a9ee41-e9a0-4661-a7e1-09c3f97e39d3"/>
  <p:tag name="MIO_UPDATE" val="True"/>
  <p:tag name="MIO_VERSION" val="02.03.2020 12:28:18"/>
  <p:tag name="MIO_DBID" val="12b0c59e-2253-4124-a5e9-470adf4cb168"/>
  <p:tag name="MIO_LASTDOWNLOADED" val="02.03.2020 12:50:57"/>
  <p:tag name="MIO_OBJECTNAME" val="Try, Catch, Finally Syntax"/>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22:17"/>
  <p:tag name="MIO_OBJECTNAME" val="Code Box"/>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4ed2106-4f29-4b50-9fe8-b07c3a313fc3"/>
  <p:tag name="MIO_UPDATE" val="True"/>
  <p:tag name="MIO_VERSION" val="02.03.2020 12:28:12"/>
  <p:tag name="MIO_DBID" val="12b0c59e-2253-4124-a5e9-470adf4cb168"/>
  <p:tag name="MIO_LASTDOWNLOADED" val="02.03.2020 12:50:51"/>
  <p:tag name="MIO_OBJECTNAME" val="Objectives"/>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GUID" val="7f3e4737-942d-447a-9452-8266343d0df5"/>
  <p:tag name="MIO_EKGUID" val="14f4e3f8-d97d-4801-9e84-d6cf8d8257af"/>
  <p:tag name="MIO_UPDATE" val="True"/>
  <p:tag name="MIO_VERSION" val="02.03.2020 12:28:18"/>
  <p:tag name="MIO_DBID" val="12b0c59e-2253-4124-a5e9-470adf4cb168"/>
  <p:tag name="MIO_LASTDOWNLOADED" val="02.03.2020 12:50:57"/>
  <p:tag name="MIO_OBJECTNAME" val="Scopes and Try, Catch, Finally"/>
  <p:tag name="MIO_LASTEDITORNAME" val="Devid Treuling"/>
</p:tagLst>
</file>

<file path=ppt/tags/tag83.xml><?xml version="1.0" encoding="utf-8"?>
<p:tagLst xmlns:a="http://schemas.openxmlformats.org/drawingml/2006/main" xmlns:r="http://schemas.openxmlformats.org/officeDocument/2006/relationships" xmlns:p="http://schemas.openxmlformats.org/presentationml/2006/main">
  <p:tag name="MIO_GUID" val="a6b7ff9b-3e69-4e57-9721-e4f8d7cb87a8"/>
  <p:tag name="MIO_EKGUID" val="348a3d73-eb64-4a85-94a8-2fb196f7e37d"/>
  <p:tag name="MIO_UPDATE" val="True"/>
  <p:tag name="MIO_VERSION" val="02.03.2020 12:28:16"/>
  <p:tag name="MIO_DBID" val="12b0c59e-2253-4124-a5e9-470adf4cb168"/>
  <p:tag name="MIO_LASTDOWNLOADED" val="02.03.2020 12:50:56"/>
  <p:tag name="MIO_OBJECTNAME" val="Overview of Trap/Try..Catch..Finally"/>
  <p:tag name="MIO_LASTEDITORNAME" val="Devid Treuling"/>
</p:tagLst>
</file>

<file path=ppt/tags/tag8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9adc5d7-7700-4334-afd6-eb99f2687a6a"/>
  <p:tag name="MIO_UPDATE" val="True"/>
  <p:tag name="MIO_VERSION" val="02.03.2020 12:28:18"/>
  <p:tag name="MIO_DBID" val="12b0c59e-2253-4124-a5e9-470adf4cb168"/>
  <p:tag name="MIO_LASTDOWNLOADED" val="02.03.2020 12:50:57"/>
  <p:tag name="MIO_OBJECTNAME" val="Demonstration (7)"/>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22dcd4ca-573c-4e0d-892b-67efa0c83819"/>
  <p:tag name="MIO_UPDATE" val="True"/>
  <p:tag name="MIO_VERSION" val="20.09.2019 20:13:13"/>
  <p:tag name="MIO_DBID" val="12B0C59E-2253-4124-A5E9-470ADF4CB168"/>
  <p:tag name="MIO_LASTDOWNLOADED" val="10.12.2019 16:30:36"/>
  <p:tag name="MIO_OBJECTNAME" val="Demo 01"/>
  <p:tag name="MIO_LASTEDITORNAME" val="Devid Treuling"/>
</p:tagLst>
</file>

<file path=ppt/tags/tag8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429387d5-86ef-48d7-b6ed-128f89e7335b"/>
  <p:tag name="MIO_UPDATE" val="True"/>
  <p:tag name="MIO_VERSION" val="02.03.2020 12:28:18"/>
  <p:tag name="MIO_DBID" val="12b0c59e-2253-4124-a5e9-470adf4cb168"/>
  <p:tag name="MIO_LASTDOWNLOADED" val="02.03.2020 12:50:57"/>
  <p:tag name="MIO_OBJECTNAME" val="Questions? (7)"/>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8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13f3f0a3-5592-43cd-a952-66d05d7a3b62"/>
  <p:tag name="MIO_UPDATE" val="True"/>
  <p:tag name="MIO_VERSION" val="02.03.2020 12:28:18"/>
  <p:tag name="MIO_DBID" val="12b0c59e-2253-4124-a5e9-470adf4cb168"/>
  <p:tag name="MIO_LASTDOWNLOADED" val="02.03.2020 12:50:57"/>
  <p:tag name="MIO_OBJECTNAME" val="Error Handling (2)"/>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91.xml><?xml version="1.0" encoding="utf-8"?>
<p:tagLst xmlns:a="http://schemas.openxmlformats.org/drawingml/2006/main" xmlns:r="http://schemas.openxmlformats.org/officeDocument/2006/relationships" xmlns:p="http://schemas.openxmlformats.org/presentationml/2006/main">
  <p:tag name="MIO_GUID" val="1e12c5b0-de85-4ec9-bbe0-c2b1f070490c"/>
  <p:tag name="MIO_EKGUID" val="e2f17efd-e8d5-422f-9f79-dc2f051e7cc5"/>
  <p:tag name="MIO_UPDATE" val="True"/>
  <p:tag name="MIO_VERSION" val="02.03.2020 12:28:19"/>
  <p:tag name="MIO_DBID" val="12b0c59e-2253-4124-a5e9-470adf4cb168"/>
  <p:tag name="MIO_LASTDOWNLOADED" val="02.03.2020 12:50:57"/>
  <p:tag name="MIO_OBJECTNAME" val="Microsoft"/>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D90DEB8C-C00E-4B1C-B45B-737A9292CE09}">
  <ds:schemaRefs>
    <ds:schemaRef ds:uri="Strauss.PersonalizationDefinition"/>
  </ds:schemaRefs>
</ds:datastoreItem>
</file>

<file path=customXml/itemProps10.xml><?xml version="1.0" encoding="utf-8"?>
<ds:datastoreItem xmlns:ds="http://schemas.openxmlformats.org/officeDocument/2006/customXml" ds:itemID="{E3518EE8-F169-4064-97F8-33CDA0BC1A7B}">
  <ds:schemaRefs>
    <ds:schemaRef ds:uri="cea7764e-6bf9-427d-be15-e74097e0a61c"/>
    <ds:schemaRef ds:uri="fa9ac045-4823-4e55-900e-1aa609c35a06"/>
    <ds:schemaRef ds:uri="http://schemas.microsoft.com/office/2006/metadata/properties"/>
    <ds:schemaRef ds:uri="http://schemas.microsoft.com/office/infopath/2007/PartnerControls"/>
    <ds:schemaRef ds:uri="http://schemas.microsoft.com/sharepoint/v3"/>
    <ds:schemaRef ds:uri="230e9df3-be65-4c73-a93b-d1236ebd677e"/>
  </ds:schemaRefs>
</ds:datastoreItem>
</file>

<file path=customXml/itemProps11.xml><?xml version="1.0" encoding="utf-8"?>
<ds:datastoreItem xmlns:ds="http://schemas.openxmlformats.org/officeDocument/2006/customXml" ds:itemID="{2FC3D517-DDDE-4606-A5F7-F0A1D8BF7008}">
  <ds:schemaRefs>
    <ds:schemaRef ds:uri="Strauss.PersonalizationDefinition"/>
  </ds:schemaRefs>
</ds:datastoreItem>
</file>

<file path=customXml/itemProps12.xml><?xml version="1.0" encoding="utf-8"?>
<ds:datastoreItem xmlns:ds="http://schemas.openxmlformats.org/officeDocument/2006/customXml" ds:itemID="{45E24724-F319-4F53-8112-FF2C9D7D5B80}">
  <ds:schemaRefs>
    <ds:schemaRef ds:uri="Strauss.PersonalizationDefinition"/>
  </ds:schemaRefs>
</ds:datastoreItem>
</file>

<file path=customXml/itemProps13.xml><?xml version="1.0" encoding="utf-8"?>
<ds:datastoreItem xmlns:ds="http://schemas.openxmlformats.org/officeDocument/2006/customXml" ds:itemID="{5F1C4676-A65C-458C-8A66-6D7B90DE914D}">
  <ds:schemaRefs>
    <ds:schemaRef ds:uri="Strauss.PersonalizationDefinition"/>
  </ds:schemaRefs>
</ds:datastoreItem>
</file>

<file path=customXml/itemProps14.xml><?xml version="1.0" encoding="utf-8"?>
<ds:datastoreItem xmlns:ds="http://schemas.openxmlformats.org/officeDocument/2006/customXml" ds:itemID="{30D01AEE-F09F-46BB-ABA5-BBB432E9FD5A}">
  <ds:schemaRefs>
    <ds:schemaRef ds:uri="Strauss.PersonalizationDefinition"/>
  </ds:schemaRefs>
</ds:datastoreItem>
</file>

<file path=customXml/itemProps15.xml><?xml version="1.0" encoding="utf-8"?>
<ds:datastoreItem xmlns:ds="http://schemas.openxmlformats.org/officeDocument/2006/customXml" ds:itemID="{2E55CCFF-3E1C-4B18-AEDE-9F26DD7DBD4A}">
  <ds:schemaRefs>
    <ds:schemaRef ds:uri="Strauss.PersonalizationDefinition"/>
  </ds:schemaRefs>
</ds:datastoreItem>
</file>

<file path=customXml/itemProps16.xml><?xml version="1.0" encoding="utf-8"?>
<ds:datastoreItem xmlns:ds="http://schemas.openxmlformats.org/officeDocument/2006/customXml" ds:itemID="{4F8D27FD-99CE-4543-A4CA-7848375F9888}">
  <ds:schemaRefs>
    <ds:schemaRef ds:uri="Strauss.PersonalizationDefinition"/>
  </ds:schemaRefs>
</ds:datastoreItem>
</file>

<file path=customXml/itemProps17.xml><?xml version="1.0" encoding="utf-8"?>
<ds:datastoreItem xmlns:ds="http://schemas.openxmlformats.org/officeDocument/2006/customXml" ds:itemID="{9C067C3B-FA69-4D58-8E75-E79BAFCD6D35}">
  <ds:schemaRefs>
    <ds:schemaRef ds:uri="Strauss.PersonalizationDefinition"/>
  </ds:schemaRefs>
</ds:datastoreItem>
</file>

<file path=customXml/itemProps18.xml><?xml version="1.0" encoding="utf-8"?>
<ds:datastoreItem xmlns:ds="http://schemas.openxmlformats.org/officeDocument/2006/customXml" ds:itemID="{9E387050-7C8A-463E-99F2-7BF740D6DF6F}">
  <ds:schemaRefs>
    <ds:schemaRef ds:uri="Strauss.PersonalizationDefinition"/>
  </ds:schemaRefs>
</ds:datastoreItem>
</file>

<file path=customXml/itemProps19.xml><?xml version="1.0" encoding="utf-8"?>
<ds:datastoreItem xmlns:ds="http://schemas.openxmlformats.org/officeDocument/2006/customXml" ds:itemID="{638C7CEB-57CA-4D88-809B-2235E2DEAB1D}">
  <ds:schemaRefs>
    <ds:schemaRef ds:uri="Strauss.PersonalizationDefinition"/>
  </ds:schemaRefs>
</ds:datastoreItem>
</file>

<file path=customXml/itemProps2.xml><?xml version="1.0" encoding="utf-8"?>
<ds:datastoreItem xmlns:ds="http://schemas.openxmlformats.org/officeDocument/2006/customXml" ds:itemID="{EBCC33FC-94BB-4B1D-A4C6-D2E6A3A4B1FD}">
  <ds:schemaRefs>
    <ds:schemaRef ds:uri="Strauss.PersonalizationDefinition"/>
  </ds:schemaRefs>
</ds:datastoreItem>
</file>

<file path=customXml/itemProps20.xml><?xml version="1.0" encoding="utf-8"?>
<ds:datastoreItem xmlns:ds="http://schemas.openxmlformats.org/officeDocument/2006/customXml" ds:itemID="{7EEF51D2-33F2-40BB-875C-C3D3A7FC0304}">
  <ds:schemaRefs>
    <ds:schemaRef ds:uri="Strauss.PersonalizationDefinition"/>
  </ds:schemaRefs>
</ds:datastoreItem>
</file>

<file path=customXml/itemProps21.xml><?xml version="1.0" encoding="utf-8"?>
<ds:datastoreItem xmlns:ds="http://schemas.openxmlformats.org/officeDocument/2006/customXml" ds:itemID="{D588B8D0-9E21-49D6-AEF3-82DCB974CE3F}">
  <ds:schemaRefs>
    <ds:schemaRef ds:uri="Strauss.PersonalizationDefinition"/>
  </ds:schemaRefs>
</ds:datastoreItem>
</file>

<file path=customXml/itemProps3.xml><?xml version="1.0" encoding="utf-8"?>
<ds:datastoreItem xmlns:ds="http://schemas.openxmlformats.org/officeDocument/2006/customXml" ds:itemID="{B79E83C1-B0EC-43C1-BF6B-551FB8550B62}">
  <ds:schemaRefs>
    <ds:schemaRef ds:uri="Strauss.PersonalizationDefinition"/>
  </ds:schemaRefs>
</ds:datastoreItem>
</file>

<file path=customXml/itemProps4.xml><?xml version="1.0" encoding="utf-8"?>
<ds:datastoreItem xmlns:ds="http://schemas.openxmlformats.org/officeDocument/2006/customXml" ds:itemID="{8F9B081E-E4DF-4C8C-9586-66601E5E5F29}">
  <ds:schemaRefs>
    <ds:schemaRef ds:uri="http://schemas.microsoft.com/sharepoint/v3/contenttype/forms"/>
  </ds:schemaRefs>
</ds:datastoreItem>
</file>

<file path=customXml/itemProps5.xml><?xml version="1.0" encoding="utf-8"?>
<ds:datastoreItem xmlns:ds="http://schemas.openxmlformats.org/officeDocument/2006/customXml" ds:itemID="{B09E3EAE-66CA-4A91-A5FE-A34A70B099ED}">
  <ds:schemaRefs>
    <ds:schemaRef ds:uri="Strauss.PersonalizationDefinition"/>
  </ds:schemaRefs>
</ds:datastoreItem>
</file>

<file path=customXml/itemProps6.xml><?xml version="1.0" encoding="utf-8"?>
<ds:datastoreItem xmlns:ds="http://schemas.openxmlformats.org/officeDocument/2006/customXml" ds:itemID="{CD086AF5-CCD3-41C8-B98A-2B159789D38E}">
  <ds:schemaRefs>
    <ds:schemaRef ds:uri="Strauss.PersonalizationDefinition"/>
  </ds:schemaRefs>
</ds:datastoreItem>
</file>

<file path=customXml/itemProps7.xml><?xml version="1.0" encoding="utf-8"?>
<ds:datastoreItem xmlns:ds="http://schemas.openxmlformats.org/officeDocument/2006/customXml" ds:itemID="{CA0277F3-2A21-4E8E-9BBC-16506CDA73AC}">
  <ds:schemaRefs>
    <ds:schemaRef ds:uri="Strauss.PersonalizationDefinition"/>
  </ds:schemaRefs>
</ds:datastoreItem>
</file>

<file path=customXml/itemProps8.xml><?xml version="1.0" encoding="utf-8"?>
<ds:datastoreItem xmlns:ds="http://schemas.openxmlformats.org/officeDocument/2006/customXml" ds:itemID="{4C4F3A05-C3E4-4354-8CE6-BF6BEDC25B4D}"/>
</file>

<file path=customXml/itemProps9.xml><?xml version="1.0" encoding="utf-8"?>
<ds:datastoreItem xmlns:ds="http://schemas.openxmlformats.org/officeDocument/2006/customXml" ds:itemID="{CC7B011F-7CD9-439C-99BD-46759E2665B6}">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44</TotalTime>
  <Words>8057</Words>
  <Application>Microsoft Office PowerPoint</Application>
  <PresentationFormat>Widescreen</PresentationFormat>
  <Paragraphs>1457</Paragraphs>
  <Slides>64</Slides>
  <Notes>64</Notes>
  <HiddenSlides>24</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64</vt:i4>
      </vt:variant>
    </vt:vector>
  </HeadingPairs>
  <TitlesOfParts>
    <vt:vector size="77"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WHITE TEMPLATE</vt:lpstr>
      <vt:lpstr>Microsoft 365 PPT Template - 2018</vt:lpstr>
      <vt:lpstr>Error Handling</vt:lpstr>
      <vt:lpstr>Disclaimer</vt:lpstr>
      <vt:lpstr>Objectives</vt:lpstr>
      <vt:lpstr>Streams</vt:lpstr>
      <vt:lpstr>Understanding Streams</vt:lpstr>
      <vt:lpstr>The Streams</vt:lpstr>
      <vt:lpstr>Write Cmdlets</vt:lpstr>
      <vt:lpstr>Demonstration</vt:lpstr>
      <vt:lpstr>Questions?</vt:lpstr>
      <vt:lpstr>Introduction to Error Handling</vt:lpstr>
      <vt:lpstr>Dealing With Errors</vt:lpstr>
      <vt:lpstr>Errors In PowerShell</vt:lpstr>
      <vt:lpstr>Errors In PowerShell</vt:lpstr>
      <vt:lpstr>Errors In PowerShell</vt:lpstr>
      <vt:lpstr>Errors In PowerShell</vt:lpstr>
      <vt:lpstr>Errors In PowerShell</vt:lpstr>
      <vt:lpstr>Demonstration</vt:lpstr>
      <vt:lpstr>Questions?</vt:lpstr>
      <vt:lpstr>Non-Terminating Errors</vt:lpstr>
      <vt:lpstr>Automatic Variables for Working with Errors</vt:lpstr>
      <vt:lpstr>Error Record Objects</vt:lpstr>
      <vt:lpstr>Error Record Objects</vt:lpstr>
      <vt:lpstr>Error Record Objects</vt:lpstr>
      <vt:lpstr>-ErrorVariable common parameter</vt:lpstr>
      <vt:lpstr>-ErrorVariable common parameter</vt:lpstr>
      <vt:lpstr>Write-Error</vt:lpstr>
      <vt:lpstr>Non-Terminating error handling flow</vt:lpstr>
      <vt:lpstr>Error Handling Flow</vt:lpstr>
      <vt:lpstr>Non-Terminating error handling flow</vt:lpstr>
      <vt:lpstr>Non-Terminating error handling flow</vt:lpstr>
      <vt:lpstr>Non-Terminating error handling flow</vt:lpstr>
      <vt:lpstr>Demonstration</vt:lpstr>
      <vt:lpstr>Questions?</vt:lpstr>
      <vt:lpstr>Introduction to Terminating Errors</vt:lpstr>
      <vt:lpstr>Terminating Errors</vt:lpstr>
      <vt:lpstr>Terminating Errors</vt:lpstr>
      <vt:lpstr>Throw</vt:lpstr>
      <vt:lpstr>Exception Types</vt:lpstr>
      <vt:lpstr>Demonstration</vt:lpstr>
      <vt:lpstr>Questions?</vt:lpstr>
      <vt:lpstr>Handling Terminating Errors using     - Trap { }</vt:lpstr>
      <vt:lpstr>Trap { }</vt:lpstr>
      <vt:lpstr>Trap { }</vt:lpstr>
      <vt:lpstr>Trap { }</vt:lpstr>
      <vt:lpstr>Example: Trap { }</vt:lpstr>
      <vt:lpstr>Demonstration</vt:lpstr>
      <vt:lpstr>Handling Terminating Errors using    - Try { } … Catch { } … Finally { }</vt:lpstr>
      <vt:lpstr>try { } … catch { } … finally { }</vt:lpstr>
      <vt:lpstr>Try / Catch / Finally</vt:lpstr>
      <vt:lpstr>Try / Catch / Finally</vt:lpstr>
      <vt:lpstr>Try / Catch / Finally</vt:lpstr>
      <vt:lpstr>Try / Catch / Finally</vt:lpstr>
      <vt:lpstr>Example: Try/Catch/Finally</vt:lpstr>
      <vt:lpstr>Try, Catch, Finally Syntax</vt:lpstr>
      <vt:lpstr>Try, Catch, Finally Syntax</vt:lpstr>
      <vt:lpstr>Try, Catch, Finally Flow</vt:lpstr>
      <vt:lpstr>Scopes and Try, Catch, Finally</vt:lpstr>
      <vt:lpstr>Scopes and Try, Catch, Finally</vt:lpstr>
      <vt:lpstr>Comparing Trap with Try..Catch..Finally</vt:lpstr>
      <vt:lpstr>Trap Vs. Try/Catch/Finally</vt:lpstr>
      <vt:lpstr>Demonstration</vt:lpstr>
      <vt:lpstr>Questions?</vt:lpstr>
      <vt:lpstr>Error Handling</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lastModifiedBy>mip_noreply@microsoft.com</lastModifiedBy>
  <revision>2</revision>
  <dcterms:created xsi:type="dcterms:W3CDTF">2019-12-16T16:01:12.0000000Z</dcterms:created>
  <dcterms:modified xsi:type="dcterms:W3CDTF">2022-06-28T16:22:08.0000000Z</dcterms:modified>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6:01:57.4184821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3b20fc4b-63c1-4e07-b322-68f27a2411b8</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1AFFBB813ED9B340817B8218D8AE0A88</vt:lpwstr>
  </op:property>
  <op:property fmtid="{D5CDD505-2E9C-101B-9397-08002B2CF9AE}" pid="12" name="MediaServiceImageTags">
    <vt:lpwstr/>
  </op:property>
</op:Properties>
</file>